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rts/chart1.xml" ContentType="application/vnd.openxmlformats-officedocument.drawingml.chart+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9" r:id="rId4"/>
    <p:sldMasterId id="2147483790" r:id="rId5"/>
  </p:sldMasterIdLst>
  <p:notesMasterIdLst>
    <p:notesMasterId r:id="rId37"/>
  </p:notesMasterIdLst>
  <p:sldIdLst>
    <p:sldId id="256" r:id="rId6"/>
    <p:sldId id="287" r:id="rId7"/>
    <p:sldId id="281" r:id="rId8"/>
    <p:sldId id="257" r:id="rId9"/>
    <p:sldId id="264" r:id="rId10"/>
    <p:sldId id="265" r:id="rId11"/>
    <p:sldId id="266" r:id="rId12"/>
    <p:sldId id="267" r:id="rId13"/>
    <p:sldId id="286" r:id="rId14"/>
    <p:sldId id="270" r:id="rId15"/>
    <p:sldId id="284" r:id="rId16"/>
    <p:sldId id="271" r:id="rId17"/>
    <p:sldId id="273" r:id="rId18"/>
    <p:sldId id="275" r:id="rId19"/>
    <p:sldId id="285" r:id="rId20"/>
    <p:sldId id="289" r:id="rId21"/>
    <p:sldId id="280" r:id="rId22"/>
    <p:sldId id="295" r:id="rId23"/>
    <p:sldId id="296" r:id="rId24"/>
    <p:sldId id="299" r:id="rId25"/>
    <p:sldId id="279" r:id="rId26"/>
    <p:sldId id="300" r:id="rId27"/>
    <p:sldId id="301" r:id="rId28"/>
    <p:sldId id="294" r:id="rId29"/>
    <p:sldId id="288" r:id="rId30"/>
    <p:sldId id="276" r:id="rId31"/>
    <p:sldId id="293" r:id="rId32"/>
    <p:sldId id="292" r:id="rId33"/>
    <p:sldId id="282" r:id="rId34"/>
    <p:sldId id="283" r:id="rId35"/>
    <p:sldId id="260" r:id="rId36"/>
  </p:sldIdLst>
  <p:sldSz cx="12192000" cy="6858000"/>
  <p:notesSz cx="6858000" cy="9144000"/>
  <p:custDataLst>
    <p:tags r:id="rId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9236E629-AF6E-E23D-51E3-18C85E97586A}" name="Beck, Katherine" initials="BK" userId="S::katherine.beck@tea.texas.gov::e1e04e99-76be-457d-a1b4-1c90ae9d9561" providerId="AD"/>
  <p188:author id="{C2B7544C-CD3B-1B04-3E08-817FEBF33321}" name="Beck, Katherine" initials="BK" userId="S::Katherine.Beck@tea.texas.gov::e1e04e99-76be-457d-a1b4-1c90ae9d9561" providerId="AD"/>
  <p188:author id="{9A821F83-BDA6-4483-407C-A83A0A021522}" name="Tian, Iris" initials="IT" userId="S::Iris.Tian@tea.texas.gov::3a26a5fd-4e1b-43a0-894e-6aa7fc05107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D6CB9"/>
    <a:srgbClr val="ED7D31"/>
    <a:srgbClr val="FF00FF"/>
    <a:srgbClr val="FF66FF"/>
    <a:srgbClr val="FFFFFF"/>
    <a:srgbClr val="EDEFF4"/>
    <a:srgbClr val="F16038"/>
    <a:srgbClr val="454546"/>
    <a:srgbClr val="43893F"/>
    <a:srgbClr val="06569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617D8AC-C4AC-2E44-EE7B-DE7468C4CE5D}" v="1" dt="2023-10-27T20:16:34.801"/>
    <p1510:client id="{9C1C2DAE-ADDE-5AC3-798B-89E353B7E5E2}" v="1594" dt="2023-10-27T19:10:04.809"/>
    <p1510:client id="{BDAEDFA8-8A06-06C3-C222-C2A15A657EBD}" v="31" dt="2023-10-27T20:15:47.54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5" d="100"/>
          <a:sy n="95" d="100"/>
        </p:scale>
        <p:origin x="182" y="2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commentAuthors" Target="commentAuthors.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notesMaster" Target="notesMasters/notesMaster1.xml"/><Relationship Id="rId40" Type="http://schemas.openxmlformats.org/officeDocument/2006/relationships/presProps" Target="presProps.xml"/><Relationship Id="rId45"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tableStyles" Target="tableStyle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tags" Target="tags/tag1.xml"/><Relationship Id="rId46" Type="http://schemas.microsoft.com/office/2018/10/relationships/authors" Target="authors.xml"/><Relationship Id="rId20" Type="http://schemas.openxmlformats.org/officeDocument/2006/relationships/slide" Target="slides/slide15.xml"/><Relationship Id="rId4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eck, Katherine" userId="S::katherine.beck@tea.texas.gov::e1e04e99-76be-457d-a1b4-1c90ae9d9561" providerId="AD" clId="Web-{9C1C2DAE-ADDE-5AC3-798B-89E353B7E5E2}"/>
    <pc:docChg chg="addSld delSld modSld sldOrd addMainMaster">
      <pc:chgData name="Beck, Katherine" userId="S::katherine.beck@tea.texas.gov::e1e04e99-76be-457d-a1b4-1c90ae9d9561" providerId="AD" clId="Web-{9C1C2DAE-ADDE-5AC3-798B-89E353B7E5E2}" dt="2023-10-27T19:10:04.809" v="1341" actId="14100"/>
      <pc:docMkLst>
        <pc:docMk/>
      </pc:docMkLst>
      <pc:sldChg chg="modSp">
        <pc:chgData name="Beck, Katherine" userId="S::katherine.beck@tea.texas.gov::e1e04e99-76be-457d-a1b4-1c90ae9d9561" providerId="AD" clId="Web-{9C1C2DAE-ADDE-5AC3-798B-89E353B7E5E2}" dt="2023-10-27T17:20:45.921" v="1" actId="20577"/>
        <pc:sldMkLst>
          <pc:docMk/>
          <pc:sldMk cId="4130700174" sldId="256"/>
        </pc:sldMkLst>
        <pc:spChg chg="mod">
          <ac:chgData name="Beck, Katherine" userId="S::katherine.beck@tea.texas.gov::e1e04e99-76be-457d-a1b4-1c90ae9d9561" providerId="AD" clId="Web-{9C1C2DAE-ADDE-5AC3-798B-89E353B7E5E2}" dt="2023-10-27T17:20:45.921" v="1" actId="20577"/>
          <ac:spMkLst>
            <pc:docMk/>
            <pc:sldMk cId="4130700174" sldId="256"/>
            <ac:spMk id="3" creationId="{3CF49749-BDB5-1AAE-E301-025BD2578DE5}"/>
          </ac:spMkLst>
        </pc:spChg>
      </pc:sldChg>
      <pc:sldChg chg="modSp addCm">
        <pc:chgData name="Beck, Katherine" userId="S::katherine.beck@tea.texas.gov::e1e04e99-76be-457d-a1b4-1c90ae9d9561" providerId="AD" clId="Web-{9C1C2DAE-ADDE-5AC3-798B-89E353B7E5E2}" dt="2023-10-27T19:01:14.806" v="1319"/>
        <pc:sldMkLst>
          <pc:docMk/>
          <pc:sldMk cId="124647820" sldId="271"/>
        </pc:sldMkLst>
        <pc:spChg chg="mod">
          <ac:chgData name="Beck, Katherine" userId="S::katherine.beck@tea.texas.gov::e1e04e99-76be-457d-a1b4-1c90ae9d9561" providerId="AD" clId="Web-{9C1C2DAE-ADDE-5AC3-798B-89E353B7E5E2}" dt="2023-10-27T17:38:45.085" v="146" actId="1076"/>
          <ac:spMkLst>
            <pc:docMk/>
            <pc:sldMk cId="124647820" sldId="271"/>
            <ac:spMk id="3" creationId="{CECA8472-920D-B59F-ADB7-789C260F7A5F}"/>
          </ac:spMkLst>
        </pc:spChg>
        <pc:spChg chg="mod">
          <ac:chgData name="Beck, Katherine" userId="S::katherine.beck@tea.texas.gov::e1e04e99-76be-457d-a1b4-1c90ae9d9561" providerId="AD" clId="Web-{9C1C2DAE-ADDE-5AC3-798B-89E353B7E5E2}" dt="2023-10-27T17:56:21.544" v="458" actId="20577"/>
          <ac:spMkLst>
            <pc:docMk/>
            <pc:sldMk cId="124647820" sldId="271"/>
            <ac:spMk id="4" creationId="{A6A4BA1F-9B5D-31C3-658C-C99E2CC564D2}"/>
          </ac:spMkLst>
        </pc:spChg>
        <pc:spChg chg="mod">
          <ac:chgData name="Beck, Katherine" userId="S::katherine.beck@tea.texas.gov::e1e04e99-76be-457d-a1b4-1c90ae9d9561" providerId="AD" clId="Web-{9C1C2DAE-ADDE-5AC3-798B-89E353B7E5E2}" dt="2023-10-27T17:38:48.928" v="147" actId="1076"/>
          <ac:spMkLst>
            <pc:docMk/>
            <pc:sldMk cId="124647820" sldId="271"/>
            <ac:spMk id="5" creationId="{DE9A1181-06B9-9C2E-BE80-53237774D645}"/>
          </ac:spMkLst>
        </pc:spChg>
      </pc:sldChg>
      <pc:sldChg chg="modSp">
        <pc:chgData name="Beck, Katherine" userId="S::katherine.beck@tea.texas.gov::e1e04e99-76be-457d-a1b4-1c90ae9d9561" providerId="AD" clId="Web-{9C1C2DAE-ADDE-5AC3-798B-89E353B7E5E2}" dt="2023-10-27T17:57:17.874" v="476" actId="20577"/>
        <pc:sldMkLst>
          <pc:docMk/>
          <pc:sldMk cId="3567529358" sldId="273"/>
        </pc:sldMkLst>
        <pc:spChg chg="mod">
          <ac:chgData name="Beck, Katherine" userId="S::katherine.beck@tea.texas.gov::e1e04e99-76be-457d-a1b4-1c90ae9d9561" providerId="AD" clId="Web-{9C1C2DAE-ADDE-5AC3-798B-89E353B7E5E2}" dt="2023-10-27T17:57:17.874" v="476" actId="20577"/>
          <ac:spMkLst>
            <pc:docMk/>
            <pc:sldMk cId="3567529358" sldId="273"/>
            <ac:spMk id="4" creationId="{A6A4BA1F-9B5D-31C3-658C-C99E2CC564D2}"/>
          </ac:spMkLst>
        </pc:spChg>
      </pc:sldChg>
      <pc:sldChg chg="modSp">
        <pc:chgData name="Beck, Katherine" userId="S::katherine.beck@tea.texas.gov::e1e04e99-76be-457d-a1b4-1c90ae9d9561" providerId="AD" clId="Web-{9C1C2DAE-ADDE-5AC3-798B-89E353B7E5E2}" dt="2023-10-27T17:51:49.268" v="407" actId="20577"/>
        <pc:sldMkLst>
          <pc:docMk/>
          <pc:sldMk cId="12948560" sldId="275"/>
        </pc:sldMkLst>
        <pc:spChg chg="mod">
          <ac:chgData name="Beck, Katherine" userId="S::katherine.beck@tea.texas.gov::e1e04e99-76be-457d-a1b4-1c90ae9d9561" providerId="AD" clId="Web-{9C1C2DAE-ADDE-5AC3-798B-89E353B7E5E2}" dt="2023-10-27T17:51:49.268" v="407" actId="20577"/>
          <ac:spMkLst>
            <pc:docMk/>
            <pc:sldMk cId="12948560" sldId="275"/>
            <ac:spMk id="5" creationId="{699DF759-D890-3496-5582-B2B12F7F1241}"/>
          </ac:spMkLst>
        </pc:spChg>
      </pc:sldChg>
      <pc:sldChg chg="addSp delSp modSp addCm modCm">
        <pc:chgData name="Beck, Katherine" userId="S::katherine.beck@tea.texas.gov::e1e04e99-76be-457d-a1b4-1c90ae9d9561" providerId="AD" clId="Web-{9C1C2DAE-ADDE-5AC3-798B-89E353B7E5E2}" dt="2023-10-27T19:00:10.038" v="1318"/>
        <pc:sldMkLst>
          <pc:docMk/>
          <pc:sldMk cId="3596081720" sldId="281"/>
        </pc:sldMkLst>
        <pc:spChg chg="mod">
          <ac:chgData name="Beck, Katherine" userId="S::katherine.beck@tea.texas.gov::e1e04e99-76be-457d-a1b4-1c90ae9d9561" providerId="AD" clId="Web-{9C1C2DAE-ADDE-5AC3-798B-89E353B7E5E2}" dt="2023-10-27T17:23:56.288" v="28" actId="20577"/>
          <ac:spMkLst>
            <pc:docMk/>
            <pc:sldMk cId="3596081720" sldId="281"/>
            <ac:spMk id="4" creationId="{C1A00173-746E-E74D-DC09-144CA7BD8361}"/>
          </ac:spMkLst>
        </pc:spChg>
        <pc:spChg chg="del mod">
          <ac:chgData name="Beck, Katherine" userId="S::katherine.beck@tea.texas.gov::e1e04e99-76be-457d-a1b4-1c90ae9d9561" providerId="AD" clId="Web-{9C1C2DAE-ADDE-5AC3-798B-89E353B7E5E2}" dt="2023-10-27T17:25:22.556" v="52"/>
          <ac:spMkLst>
            <pc:docMk/>
            <pc:sldMk cId="3596081720" sldId="281"/>
            <ac:spMk id="6" creationId="{B1A29C16-9CA7-E5BB-7D01-F6547F580F42}"/>
          </ac:spMkLst>
        </pc:spChg>
        <pc:spChg chg="add mod">
          <ac:chgData name="Beck, Katherine" userId="S::katherine.beck@tea.texas.gov::e1e04e99-76be-457d-a1b4-1c90ae9d9561" providerId="AD" clId="Web-{9C1C2DAE-ADDE-5AC3-798B-89E353B7E5E2}" dt="2023-10-27T17:24:19.460" v="38" actId="20577"/>
          <ac:spMkLst>
            <pc:docMk/>
            <pc:sldMk cId="3596081720" sldId="281"/>
            <ac:spMk id="11" creationId="{AF67DC04-2838-14DC-8DC5-5FCCEFF9702D}"/>
          </ac:spMkLst>
        </pc:spChg>
        <pc:spChg chg="add mod">
          <ac:chgData name="Beck, Katherine" userId="S::katherine.beck@tea.texas.gov::e1e04e99-76be-457d-a1b4-1c90ae9d9561" providerId="AD" clId="Web-{9C1C2DAE-ADDE-5AC3-798B-89E353B7E5E2}" dt="2023-10-27T17:53:59.820" v="416" actId="14100"/>
          <ac:spMkLst>
            <pc:docMk/>
            <pc:sldMk cId="3596081720" sldId="281"/>
            <ac:spMk id="13" creationId="{1EDDD3C0-FB96-3102-1017-953197D516EA}"/>
          </ac:spMkLst>
        </pc:spChg>
        <pc:spChg chg="add mod">
          <ac:chgData name="Beck, Katherine" userId="S::katherine.beck@tea.texas.gov::e1e04e99-76be-457d-a1b4-1c90ae9d9561" providerId="AD" clId="Web-{9C1C2DAE-ADDE-5AC3-798B-89E353B7E5E2}" dt="2023-10-27T17:27:13.935" v="82" actId="14100"/>
          <ac:spMkLst>
            <pc:docMk/>
            <pc:sldMk cId="3596081720" sldId="281"/>
            <ac:spMk id="14" creationId="{E03794A2-5161-82F7-0179-EEE0FA220C55}"/>
          </ac:spMkLst>
        </pc:spChg>
      </pc:sldChg>
      <pc:sldChg chg="modSp">
        <pc:chgData name="Beck, Katherine" userId="S::katherine.beck@tea.texas.gov::e1e04e99-76be-457d-a1b4-1c90ae9d9561" providerId="AD" clId="Web-{9C1C2DAE-ADDE-5AC3-798B-89E353B7E5E2}" dt="2023-10-27T19:03:26.920" v="1334" actId="20577"/>
        <pc:sldMkLst>
          <pc:docMk/>
          <pc:sldMk cId="3228836762" sldId="282"/>
        </pc:sldMkLst>
        <pc:spChg chg="mod">
          <ac:chgData name="Beck, Katherine" userId="S::katherine.beck@tea.texas.gov::e1e04e99-76be-457d-a1b4-1c90ae9d9561" providerId="AD" clId="Web-{9C1C2DAE-ADDE-5AC3-798B-89E353B7E5E2}" dt="2023-10-27T19:02:46.293" v="1322" actId="20577"/>
          <ac:spMkLst>
            <pc:docMk/>
            <pc:sldMk cId="3228836762" sldId="282"/>
            <ac:spMk id="2" creationId="{FD03A14E-0327-76B4-4D43-018EAFE80796}"/>
          </ac:spMkLst>
        </pc:spChg>
        <pc:spChg chg="mod">
          <ac:chgData name="Beck, Katherine" userId="S::katherine.beck@tea.texas.gov::e1e04e99-76be-457d-a1b4-1c90ae9d9561" providerId="AD" clId="Web-{9C1C2DAE-ADDE-5AC3-798B-89E353B7E5E2}" dt="2023-10-27T19:03:07.919" v="1329" actId="20577"/>
          <ac:spMkLst>
            <pc:docMk/>
            <pc:sldMk cId="3228836762" sldId="282"/>
            <ac:spMk id="4" creationId="{A6A4BA1F-9B5D-31C3-658C-C99E2CC564D2}"/>
          </ac:spMkLst>
        </pc:spChg>
        <pc:spChg chg="mod">
          <ac:chgData name="Beck, Katherine" userId="S::katherine.beck@tea.texas.gov::e1e04e99-76be-457d-a1b4-1c90ae9d9561" providerId="AD" clId="Web-{9C1C2DAE-ADDE-5AC3-798B-89E353B7E5E2}" dt="2023-10-27T19:03:26.920" v="1334" actId="20577"/>
          <ac:spMkLst>
            <pc:docMk/>
            <pc:sldMk cId="3228836762" sldId="282"/>
            <ac:spMk id="5" creationId="{699DF759-D890-3496-5582-B2B12F7F1241}"/>
          </ac:spMkLst>
        </pc:spChg>
      </pc:sldChg>
      <pc:sldChg chg="addSp delSp modSp">
        <pc:chgData name="Beck, Katherine" userId="S::katherine.beck@tea.texas.gov::e1e04e99-76be-457d-a1b4-1c90ae9d9561" providerId="AD" clId="Web-{9C1C2DAE-ADDE-5AC3-798B-89E353B7E5E2}" dt="2023-10-27T19:10:04.809" v="1341" actId="14100"/>
        <pc:sldMkLst>
          <pc:docMk/>
          <pc:sldMk cId="1944486448" sldId="283"/>
        </pc:sldMkLst>
        <pc:spChg chg="mod">
          <ac:chgData name="Beck, Katherine" userId="S::katherine.beck@tea.texas.gov::e1e04e99-76be-457d-a1b4-1c90ae9d9561" providerId="AD" clId="Web-{9C1C2DAE-ADDE-5AC3-798B-89E353B7E5E2}" dt="2023-10-27T19:09:55.215" v="1336" actId="20577"/>
          <ac:spMkLst>
            <pc:docMk/>
            <pc:sldMk cId="1944486448" sldId="283"/>
            <ac:spMk id="2" creationId="{FD03A14E-0327-76B4-4D43-018EAFE80796}"/>
          </ac:spMkLst>
        </pc:spChg>
        <pc:picChg chg="add mod">
          <ac:chgData name="Beck, Katherine" userId="S::katherine.beck@tea.texas.gov::e1e04e99-76be-457d-a1b4-1c90ae9d9561" providerId="AD" clId="Web-{9C1C2DAE-ADDE-5AC3-798B-89E353B7E5E2}" dt="2023-10-27T19:10:04.809" v="1341" actId="14100"/>
          <ac:picMkLst>
            <pc:docMk/>
            <pc:sldMk cId="1944486448" sldId="283"/>
            <ac:picMk id="3" creationId="{76644C88-F46A-2572-3DC0-7F244D2ECF1C}"/>
          </ac:picMkLst>
        </pc:picChg>
        <pc:picChg chg="del">
          <ac:chgData name="Beck, Katherine" userId="S::katherine.beck@tea.texas.gov::e1e04e99-76be-457d-a1b4-1c90ae9d9561" providerId="AD" clId="Web-{9C1C2DAE-ADDE-5AC3-798B-89E353B7E5E2}" dt="2023-10-27T19:09:56.027" v="1337"/>
          <ac:picMkLst>
            <pc:docMk/>
            <pc:sldMk cId="1944486448" sldId="283"/>
            <ac:picMk id="1025" creationId="{0B28A67E-DDC9-E093-6C23-09CF44C4FCA2}"/>
          </ac:picMkLst>
        </pc:picChg>
      </pc:sldChg>
      <pc:sldChg chg="modSp delCm">
        <pc:chgData name="Beck, Katherine" userId="S::katherine.beck@tea.texas.gov::e1e04e99-76be-457d-a1b4-1c90ae9d9561" providerId="AD" clId="Web-{9C1C2DAE-ADDE-5AC3-798B-89E353B7E5E2}" dt="2023-10-27T17:26:43.043" v="78" actId="20577"/>
        <pc:sldMkLst>
          <pc:docMk/>
          <pc:sldMk cId="3610694678" sldId="287"/>
        </pc:sldMkLst>
        <pc:spChg chg="mod">
          <ac:chgData name="Beck, Katherine" userId="S::katherine.beck@tea.texas.gov::e1e04e99-76be-457d-a1b4-1c90ae9d9561" providerId="AD" clId="Web-{9C1C2DAE-ADDE-5AC3-798B-89E353B7E5E2}" dt="2023-10-27T17:26:43.043" v="78" actId="20577"/>
          <ac:spMkLst>
            <pc:docMk/>
            <pc:sldMk cId="3610694678" sldId="287"/>
            <ac:spMk id="4" creationId="{C1A00173-746E-E74D-DC09-144CA7BD8361}"/>
          </ac:spMkLst>
        </pc:spChg>
        <pc:spChg chg="mod">
          <ac:chgData name="Beck, Katherine" userId="S::katherine.beck@tea.texas.gov::e1e04e99-76be-457d-a1b4-1c90ae9d9561" providerId="AD" clId="Web-{9C1C2DAE-ADDE-5AC3-798B-89E353B7E5E2}" dt="2023-10-27T17:21:43.033" v="2" actId="14100"/>
          <ac:spMkLst>
            <pc:docMk/>
            <pc:sldMk cId="3610694678" sldId="287"/>
            <ac:spMk id="5" creationId="{C0E20AB8-2AB7-6434-A76D-765E3C1F0259}"/>
          </ac:spMkLst>
        </pc:spChg>
      </pc:sldChg>
      <pc:sldChg chg="ord">
        <pc:chgData name="Beck, Katherine" userId="S::katherine.beck@tea.texas.gov::e1e04e99-76be-457d-a1b4-1c90ae9d9561" providerId="AD" clId="Web-{9C1C2DAE-ADDE-5AC3-798B-89E353B7E5E2}" dt="2023-10-27T18:56:36.218" v="1315"/>
        <pc:sldMkLst>
          <pc:docMk/>
          <pc:sldMk cId="2972119361" sldId="288"/>
        </pc:sldMkLst>
      </pc:sldChg>
      <pc:sldChg chg="addSp delSp modSp add ord addCm">
        <pc:chgData name="Beck, Katherine" userId="S::katherine.beck@tea.texas.gov::e1e04e99-76be-457d-a1b4-1c90ae9d9561" providerId="AD" clId="Web-{9C1C2DAE-ADDE-5AC3-798B-89E353B7E5E2}" dt="2023-10-27T19:02:06.183" v="1320"/>
        <pc:sldMkLst>
          <pc:docMk/>
          <pc:sldMk cId="2363480423" sldId="300"/>
        </pc:sldMkLst>
        <pc:spChg chg="mod">
          <ac:chgData name="Beck, Katherine" userId="S::katherine.beck@tea.texas.gov::e1e04e99-76be-457d-a1b4-1c90ae9d9561" providerId="AD" clId="Web-{9C1C2DAE-ADDE-5AC3-798B-89E353B7E5E2}" dt="2023-10-27T17:53:20.506" v="409" actId="20577"/>
          <ac:spMkLst>
            <pc:docMk/>
            <pc:sldMk cId="2363480423" sldId="300"/>
            <ac:spMk id="2" creationId="{FD03A14E-0327-76B4-4D43-018EAFE80796}"/>
          </ac:spMkLst>
        </pc:spChg>
        <pc:spChg chg="mod">
          <ac:chgData name="Beck, Katherine" userId="S::katherine.beck@tea.texas.gov::e1e04e99-76be-457d-a1b4-1c90ae9d9561" providerId="AD" clId="Web-{9C1C2DAE-ADDE-5AC3-798B-89E353B7E5E2}" dt="2023-10-27T18:39:32.276" v="1113" actId="20577"/>
          <ac:spMkLst>
            <pc:docMk/>
            <pc:sldMk cId="2363480423" sldId="300"/>
            <ac:spMk id="4" creationId="{A6A4BA1F-9B5D-31C3-658C-C99E2CC564D2}"/>
          </ac:spMkLst>
        </pc:spChg>
        <pc:spChg chg="add mod">
          <ac:chgData name="Beck, Katherine" userId="S::katherine.beck@tea.texas.gov::e1e04e99-76be-457d-a1b4-1c90ae9d9561" providerId="AD" clId="Web-{9C1C2DAE-ADDE-5AC3-798B-89E353B7E5E2}" dt="2023-10-27T18:36:25.863" v="1051" actId="1076"/>
          <ac:spMkLst>
            <pc:docMk/>
            <pc:sldMk cId="2363480423" sldId="300"/>
            <ac:spMk id="7" creationId="{02DC4A93-0281-49EA-8CAE-22B16F08C77A}"/>
          </ac:spMkLst>
        </pc:spChg>
        <pc:spChg chg="add del mod">
          <ac:chgData name="Beck, Katherine" userId="S::katherine.beck@tea.texas.gov::e1e04e99-76be-457d-a1b4-1c90ae9d9561" providerId="AD" clId="Web-{9C1C2DAE-ADDE-5AC3-798B-89E353B7E5E2}" dt="2023-10-27T17:53:45.070" v="414"/>
          <ac:spMkLst>
            <pc:docMk/>
            <pc:sldMk cId="2363480423" sldId="300"/>
            <ac:spMk id="8" creationId="{1780D8B1-76AE-BC89-DA8A-11E974DE0CFD}"/>
          </ac:spMkLst>
        </pc:spChg>
        <pc:spChg chg="add mod">
          <ac:chgData name="Beck, Katherine" userId="S::katherine.beck@tea.texas.gov::e1e04e99-76be-457d-a1b4-1c90ae9d9561" providerId="AD" clId="Web-{9C1C2DAE-ADDE-5AC3-798B-89E353B7E5E2}" dt="2023-10-27T18:37:44.459" v="1081" actId="1076"/>
          <ac:spMkLst>
            <pc:docMk/>
            <pc:sldMk cId="2363480423" sldId="300"/>
            <ac:spMk id="9" creationId="{EB97CC5E-D565-5996-6C13-7FC6974F91EE}"/>
          </ac:spMkLst>
        </pc:spChg>
        <pc:graphicFrameChg chg="mod modGraphic">
          <ac:chgData name="Beck, Katherine" userId="S::katherine.beck@tea.texas.gov::e1e04e99-76be-457d-a1b4-1c90ae9d9561" providerId="AD" clId="Web-{9C1C2DAE-ADDE-5AC3-798B-89E353B7E5E2}" dt="2023-10-27T18:38:53.884" v="1103"/>
          <ac:graphicFrameMkLst>
            <pc:docMk/>
            <pc:sldMk cId="2363480423" sldId="300"/>
            <ac:graphicFrameMk id="6" creationId="{58511B37-8C18-9219-07E2-95F2A29B82F1}"/>
          </ac:graphicFrameMkLst>
        </pc:graphicFrameChg>
        <pc:picChg chg="add mod">
          <ac:chgData name="Beck, Katherine" userId="S::katherine.beck@tea.texas.gov::e1e04e99-76be-457d-a1b4-1c90ae9d9561" providerId="AD" clId="Web-{9C1C2DAE-ADDE-5AC3-798B-89E353B7E5E2}" dt="2023-10-27T18:36:25.816" v="1049" actId="1076"/>
          <ac:picMkLst>
            <pc:docMk/>
            <pc:sldMk cId="2363480423" sldId="300"/>
            <ac:picMk id="3" creationId="{F2C029E9-6928-019E-C84E-80A9C9F9CCD0}"/>
          </ac:picMkLst>
        </pc:picChg>
        <pc:picChg chg="add mod">
          <ac:chgData name="Beck, Katherine" userId="S::katherine.beck@tea.texas.gov::e1e04e99-76be-457d-a1b4-1c90ae9d9561" providerId="AD" clId="Web-{9C1C2DAE-ADDE-5AC3-798B-89E353B7E5E2}" dt="2023-10-27T18:36:25.847" v="1050" actId="1076"/>
          <ac:picMkLst>
            <pc:docMk/>
            <pc:sldMk cId="2363480423" sldId="300"/>
            <ac:picMk id="5" creationId="{56D219B3-CF70-B83A-4683-F614DB16C102}"/>
          </ac:picMkLst>
        </pc:picChg>
      </pc:sldChg>
      <pc:sldChg chg="addSp delSp modSp add replId">
        <pc:chgData name="Beck, Katherine" userId="S::katherine.beck@tea.texas.gov::e1e04e99-76be-457d-a1b4-1c90ae9d9561" providerId="AD" clId="Web-{9C1C2DAE-ADDE-5AC3-798B-89E353B7E5E2}" dt="2023-10-27T18:56:30.421" v="1313"/>
        <pc:sldMkLst>
          <pc:docMk/>
          <pc:sldMk cId="3558625278" sldId="301"/>
        </pc:sldMkLst>
        <pc:spChg chg="del">
          <ac:chgData name="Beck, Katherine" userId="S::katherine.beck@tea.texas.gov::e1e04e99-76be-457d-a1b4-1c90ae9d9561" providerId="AD" clId="Web-{9C1C2DAE-ADDE-5AC3-798B-89E353B7E5E2}" dt="2023-10-27T18:06:23.580" v="523"/>
          <ac:spMkLst>
            <pc:docMk/>
            <pc:sldMk cId="3558625278" sldId="301"/>
            <ac:spMk id="4" creationId="{A6A4BA1F-9B5D-31C3-658C-C99E2CC564D2}"/>
          </ac:spMkLst>
        </pc:spChg>
        <pc:spChg chg="mod">
          <ac:chgData name="Beck, Katherine" userId="S::katherine.beck@tea.texas.gov::e1e04e99-76be-457d-a1b4-1c90ae9d9561" providerId="AD" clId="Web-{9C1C2DAE-ADDE-5AC3-798B-89E353B7E5E2}" dt="2023-10-27T18:24:29.603" v="817" actId="1076"/>
          <ac:spMkLst>
            <pc:docMk/>
            <pc:sldMk cId="3558625278" sldId="301"/>
            <ac:spMk id="7" creationId="{02DC4A93-0281-49EA-8CAE-22B16F08C77A}"/>
          </ac:spMkLst>
        </pc:spChg>
        <pc:spChg chg="add del mod">
          <ac:chgData name="Beck, Katherine" userId="S::katherine.beck@tea.texas.gov::e1e04e99-76be-457d-a1b4-1c90ae9d9561" providerId="AD" clId="Web-{9C1C2DAE-ADDE-5AC3-798B-89E353B7E5E2}" dt="2023-10-27T18:06:29.440" v="524"/>
          <ac:spMkLst>
            <pc:docMk/>
            <pc:sldMk cId="3558625278" sldId="301"/>
            <ac:spMk id="9" creationId="{AA73B7CB-6633-7267-1166-AA9E433CB3D8}"/>
          </ac:spMkLst>
        </pc:spChg>
        <pc:spChg chg="add mod">
          <ac:chgData name="Beck, Katherine" userId="S::katherine.beck@tea.texas.gov::e1e04e99-76be-457d-a1b4-1c90ae9d9561" providerId="AD" clId="Web-{9C1C2DAE-ADDE-5AC3-798B-89E353B7E5E2}" dt="2023-10-27T18:26:18.951" v="838" actId="1076"/>
          <ac:spMkLst>
            <pc:docMk/>
            <pc:sldMk cId="3558625278" sldId="301"/>
            <ac:spMk id="13" creationId="{788CDE57-3B87-2A90-FBDC-A67C374876E1}"/>
          </ac:spMkLst>
        </pc:spChg>
        <pc:spChg chg="add mod">
          <ac:chgData name="Beck, Katherine" userId="S::katherine.beck@tea.texas.gov::e1e04e99-76be-457d-a1b4-1c90ae9d9561" providerId="AD" clId="Web-{9C1C2DAE-ADDE-5AC3-798B-89E353B7E5E2}" dt="2023-10-27T18:50:17.830" v="1308" actId="20577"/>
          <ac:spMkLst>
            <pc:docMk/>
            <pc:sldMk cId="3558625278" sldId="301"/>
            <ac:spMk id="20" creationId="{4198E184-535C-BF06-D151-636294F46218}"/>
          </ac:spMkLst>
        </pc:spChg>
        <pc:graphicFrameChg chg="mod modGraphic">
          <ac:chgData name="Beck, Katherine" userId="S::katherine.beck@tea.texas.gov::e1e04e99-76be-457d-a1b4-1c90ae9d9561" providerId="AD" clId="Web-{9C1C2DAE-ADDE-5AC3-798B-89E353B7E5E2}" dt="2023-10-27T18:52:28.037" v="1309" actId="1076"/>
          <ac:graphicFrameMkLst>
            <pc:docMk/>
            <pc:sldMk cId="3558625278" sldId="301"/>
            <ac:graphicFrameMk id="6" creationId="{58511B37-8C18-9219-07E2-95F2A29B82F1}"/>
          </ac:graphicFrameMkLst>
        </pc:graphicFrameChg>
        <pc:graphicFrameChg chg="add del mod modGraphic">
          <ac:chgData name="Beck, Katherine" userId="S::katherine.beck@tea.texas.gov::e1e04e99-76be-457d-a1b4-1c90ae9d9561" providerId="AD" clId="Web-{9C1C2DAE-ADDE-5AC3-798B-89E353B7E5E2}" dt="2023-10-27T18:18:15.418" v="708"/>
          <ac:graphicFrameMkLst>
            <pc:docMk/>
            <pc:sldMk cId="3558625278" sldId="301"/>
            <ac:graphicFrameMk id="10" creationId="{833E81BC-16FE-85F6-9936-70AE732ADC49}"/>
          </ac:graphicFrameMkLst>
        </pc:graphicFrameChg>
        <pc:picChg chg="del mod">
          <ac:chgData name="Beck, Katherine" userId="S::katherine.beck@tea.texas.gov::e1e04e99-76be-457d-a1b4-1c90ae9d9561" providerId="AD" clId="Web-{9C1C2DAE-ADDE-5AC3-798B-89E353B7E5E2}" dt="2023-10-27T18:10:25.417" v="604"/>
          <ac:picMkLst>
            <pc:docMk/>
            <pc:sldMk cId="3558625278" sldId="301"/>
            <ac:picMk id="3" creationId="{F2C029E9-6928-019E-C84E-80A9C9F9CCD0}"/>
          </ac:picMkLst>
        </pc:picChg>
        <pc:picChg chg="mod modCrop">
          <ac:chgData name="Beck, Katherine" userId="S::katherine.beck@tea.texas.gov::e1e04e99-76be-457d-a1b4-1c90ae9d9561" providerId="AD" clId="Web-{9C1C2DAE-ADDE-5AC3-798B-89E353B7E5E2}" dt="2023-10-27T18:56:30.421" v="1313"/>
          <ac:picMkLst>
            <pc:docMk/>
            <pc:sldMk cId="3558625278" sldId="301"/>
            <ac:picMk id="5" creationId="{56D219B3-CF70-B83A-4683-F614DB16C102}"/>
          </ac:picMkLst>
        </pc:picChg>
        <pc:picChg chg="add del mod">
          <ac:chgData name="Beck, Katherine" userId="S::katherine.beck@tea.texas.gov::e1e04e99-76be-457d-a1b4-1c90ae9d9561" providerId="AD" clId="Web-{9C1C2DAE-ADDE-5AC3-798B-89E353B7E5E2}" dt="2023-10-27T18:10:26.073" v="605"/>
          <ac:picMkLst>
            <pc:docMk/>
            <pc:sldMk cId="3558625278" sldId="301"/>
            <ac:picMk id="11" creationId="{9B6DBD12-5CEE-4499-E79D-B271C580615F}"/>
          </ac:picMkLst>
        </pc:picChg>
        <pc:picChg chg="add del mod">
          <ac:chgData name="Beck, Katherine" userId="S::katherine.beck@tea.texas.gov::e1e04e99-76be-457d-a1b4-1c90ae9d9561" providerId="AD" clId="Web-{9C1C2DAE-ADDE-5AC3-798B-89E353B7E5E2}" dt="2023-10-27T18:17:25.182" v="639"/>
          <ac:picMkLst>
            <pc:docMk/>
            <pc:sldMk cId="3558625278" sldId="301"/>
            <ac:picMk id="12" creationId="{7774FB1C-0C57-95FD-D977-1D1844492ED4}"/>
          </ac:picMkLst>
        </pc:picChg>
        <pc:picChg chg="add del mod">
          <ac:chgData name="Beck, Katherine" userId="S::katherine.beck@tea.texas.gov::e1e04e99-76be-457d-a1b4-1c90ae9d9561" providerId="AD" clId="Web-{9C1C2DAE-ADDE-5AC3-798B-89E353B7E5E2}" dt="2023-10-27T18:11:07.075" v="614"/>
          <ac:picMkLst>
            <pc:docMk/>
            <pc:sldMk cId="3558625278" sldId="301"/>
            <ac:picMk id="14" creationId="{0C5ED7B7-70B0-FA6F-867B-2F4E80F40DD5}"/>
          </ac:picMkLst>
        </pc:picChg>
        <pc:picChg chg="add del mod">
          <ac:chgData name="Beck, Katherine" userId="S::katherine.beck@tea.texas.gov::e1e04e99-76be-457d-a1b4-1c90ae9d9561" providerId="AD" clId="Web-{9C1C2DAE-ADDE-5AC3-798B-89E353B7E5E2}" dt="2023-10-27T18:15:06.536" v="626"/>
          <ac:picMkLst>
            <pc:docMk/>
            <pc:sldMk cId="3558625278" sldId="301"/>
            <ac:picMk id="15" creationId="{B2E0CDA9-FD37-5509-D751-F7257D74F3D3}"/>
          </ac:picMkLst>
        </pc:picChg>
        <pc:picChg chg="add del mod">
          <ac:chgData name="Beck, Katherine" userId="S::katherine.beck@tea.texas.gov::e1e04e99-76be-457d-a1b4-1c90ae9d9561" providerId="AD" clId="Web-{9C1C2DAE-ADDE-5AC3-798B-89E353B7E5E2}" dt="2023-10-27T18:21:06.315" v="762"/>
          <ac:picMkLst>
            <pc:docMk/>
            <pc:sldMk cId="3558625278" sldId="301"/>
            <ac:picMk id="16" creationId="{D551058D-2144-0052-6506-3F07467216FC}"/>
          </ac:picMkLst>
        </pc:picChg>
        <pc:picChg chg="add mod">
          <ac:chgData name="Beck, Katherine" userId="S::katherine.beck@tea.texas.gov::e1e04e99-76be-457d-a1b4-1c90ae9d9561" providerId="AD" clId="Web-{9C1C2DAE-ADDE-5AC3-798B-89E353B7E5E2}" dt="2023-10-27T18:26:19.013" v="839" actId="1076"/>
          <ac:picMkLst>
            <pc:docMk/>
            <pc:sldMk cId="3558625278" sldId="301"/>
            <ac:picMk id="17" creationId="{787218C1-C755-A28F-AAE8-B8AF5F9B41A6}"/>
          </ac:picMkLst>
        </pc:picChg>
        <pc:picChg chg="add mod">
          <ac:chgData name="Beck, Katherine" userId="S::katherine.beck@tea.texas.gov::e1e04e99-76be-457d-a1b4-1c90ae9d9561" providerId="AD" clId="Web-{9C1C2DAE-ADDE-5AC3-798B-89E353B7E5E2}" dt="2023-10-27T18:24:29.744" v="819" actId="1076"/>
          <ac:picMkLst>
            <pc:docMk/>
            <pc:sldMk cId="3558625278" sldId="301"/>
            <ac:picMk id="18" creationId="{F5E83E92-AD48-C768-84C8-1633DDF04D1A}"/>
          </ac:picMkLst>
        </pc:picChg>
        <pc:picChg chg="add mod">
          <ac:chgData name="Beck, Katherine" userId="S::katherine.beck@tea.texas.gov::e1e04e99-76be-457d-a1b4-1c90ae9d9561" providerId="AD" clId="Web-{9C1C2DAE-ADDE-5AC3-798B-89E353B7E5E2}" dt="2023-10-27T18:26:25.029" v="840" actId="1076"/>
          <ac:picMkLst>
            <pc:docMk/>
            <pc:sldMk cId="3558625278" sldId="301"/>
            <ac:picMk id="19" creationId="{1D75630D-C19B-616A-90F8-996D9B7EE9E6}"/>
          </ac:picMkLst>
        </pc:picChg>
      </pc:sldChg>
      <pc:sldChg chg="delSp modSp add del replId">
        <pc:chgData name="Beck, Katherine" userId="S::katherine.beck@tea.texas.gov::e1e04e99-76be-457d-a1b4-1c90ae9d9561" providerId="AD" clId="Web-{9C1C2DAE-ADDE-5AC3-798B-89E353B7E5E2}" dt="2023-10-27T18:22:01.754" v="770"/>
        <pc:sldMkLst>
          <pc:docMk/>
          <pc:sldMk cId="1561688507" sldId="302"/>
        </pc:sldMkLst>
        <pc:spChg chg="mod">
          <ac:chgData name="Beck, Katherine" userId="S::katherine.beck@tea.texas.gov::e1e04e99-76be-457d-a1b4-1c90ae9d9561" providerId="AD" clId="Web-{9C1C2DAE-ADDE-5AC3-798B-89E353B7E5E2}" dt="2023-10-27T18:09:00.399" v="594" actId="20577"/>
          <ac:spMkLst>
            <pc:docMk/>
            <pc:sldMk cId="1561688507" sldId="302"/>
            <ac:spMk id="7" creationId="{02DC4A93-0281-49EA-8CAE-22B16F08C77A}"/>
          </ac:spMkLst>
        </pc:spChg>
        <pc:spChg chg="mod">
          <ac:chgData name="Beck, Katherine" userId="S::katherine.beck@tea.texas.gov::e1e04e99-76be-457d-a1b4-1c90ae9d9561" providerId="AD" clId="Web-{9C1C2DAE-ADDE-5AC3-798B-89E353B7E5E2}" dt="2023-10-27T18:09:04.602" v="595" actId="20577"/>
          <ac:spMkLst>
            <pc:docMk/>
            <pc:sldMk cId="1561688507" sldId="302"/>
            <ac:spMk id="13" creationId="{788CDE57-3B87-2A90-FBDC-A67C374876E1}"/>
          </ac:spMkLst>
        </pc:spChg>
        <pc:picChg chg="del">
          <ac:chgData name="Beck, Katherine" userId="S::katherine.beck@tea.texas.gov::e1e04e99-76be-457d-a1b4-1c90ae9d9561" providerId="AD" clId="Web-{9C1C2DAE-ADDE-5AC3-798B-89E353B7E5E2}" dt="2023-10-27T18:10:27.620" v="606"/>
          <ac:picMkLst>
            <pc:docMk/>
            <pc:sldMk cId="1561688507" sldId="302"/>
            <ac:picMk id="3" creationId="{F2C029E9-6928-019E-C84E-80A9C9F9CCD0}"/>
          </ac:picMkLst>
        </pc:picChg>
        <pc:picChg chg="del">
          <ac:chgData name="Beck, Katherine" userId="S::katherine.beck@tea.texas.gov::e1e04e99-76be-457d-a1b4-1c90ae9d9561" providerId="AD" clId="Web-{9C1C2DAE-ADDE-5AC3-798B-89E353B7E5E2}" dt="2023-10-27T18:10:28.230" v="607"/>
          <ac:picMkLst>
            <pc:docMk/>
            <pc:sldMk cId="1561688507" sldId="302"/>
            <ac:picMk id="11" creationId="{9B6DBD12-5CEE-4499-E79D-B271C580615F}"/>
          </ac:picMkLst>
        </pc:picChg>
      </pc:sldChg>
      <pc:sldChg chg="modSp add del replId">
        <pc:chgData name="Beck, Katherine" userId="S::katherine.beck@tea.texas.gov::e1e04e99-76be-457d-a1b4-1c90ae9d9561" providerId="AD" clId="Web-{9C1C2DAE-ADDE-5AC3-798B-89E353B7E5E2}" dt="2023-10-27T18:23:34.882" v="785"/>
        <pc:sldMkLst>
          <pc:docMk/>
          <pc:sldMk cId="2113584890" sldId="302"/>
        </pc:sldMkLst>
        <pc:spChg chg="mod">
          <ac:chgData name="Beck, Katherine" userId="S::katherine.beck@tea.texas.gov::e1e04e99-76be-457d-a1b4-1c90ae9d9561" providerId="AD" clId="Web-{9C1C2DAE-ADDE-5AC3-798B-89E353B7E5E2}" dt="2023-10-27T18:22:14.489" v="784" actId="20577"/>
          <ac:spMkLst>
            <pc:docMk/>
            <pc:sldMk cId="2113584890" sldId="302"/>
            <ac:spMk id="7" creationId="{02DC4A93-0281-49EA-8CAE-22B16F08C77A}"/>
          </ac:spMkLst>
        </pc:spChg>
      </pc:sldChg>
      <pc:sldMasterChg chg="add addSldLayout">
        <pc:chgData name="Beck, Katherine" userId="S::katherine.beck@tea.texas.gov::e1e04e99-76be-457d-a1b4-1c90ae9d9561" providerId="AD" clId="Web-{9C1C2DAE-ADDE-5AC3-798B-89E353B7E5E2}" dt="2023-10-27T17:53:15.084" v="408"/>
        <pc:sldMasterMkLst>
          <pc:docMk/>
          <pc:sldMasterMk cId="4111256006" sldId="2147483790"/>
        </pc:sldMasterMkLst>
        <pc:sldLayoutChg chg="add">
          <pc:chgData name="Beck, Katherine" userId="S::katherine.beck@tea.texas.gov::e1e04e99-76be-457d-a1b4-1c90ae9d9561" providerId="AD" clId="Web-{9C1C2DAE-ADDE-5AC3-798B-89E353B7E5E2}" dt="2023-10-27T17:53:15.084" v="408"/>
          <pc:sldLayoutMkLst>
            <pc:docMk/>
            <pc:sldMasterMk cId="4111256006" sldId="2147483790"/>
            <pc:sldLayoutMk cId="581532369" sldId="2147483791"/>
          </pc:sldLayoutMkLst>
        </pc:sldLayoutChg>
        <pc:sldLayoutChg chg="add">
          <pc:chgData name="Beck, Katherine" userId="S::katherine.beck@tea.texas.gov::e1e04e99-76be-457d-a1b4-1c90ae9d9561" providerId="AD" clId="Web-{9C1C2DAE-ADDE-5AC3-798B-89E353B7E5E2}" dt="2023-10-27T17:53:15.084" v="408"/>
          <pc:sldLayoutMkLst>
            <pc:docMk/>
            <pc:sldMasterMk cId="4111256006" sldId="2147483790"/>
            <pc:sldLayoutMk cId="2316564655" sldId="2147483792"/>
          </pc:sldLayoutMkLst>
        </pc:sldLayoutChg>
        <pc:sldLayoutChg chg="add">
          <pc:chgData name="Beck, Katherine" userId="S::katherine.beck@tea.texas.gov::e1e04e99-76be-457d-a1b4-1c90ae9d9561" providerId="AD" clId="Web-{9C1C2DAE-ADDE-5AC3-798B-89E353B7E5E2}" dt="2023-10-27T17:53:15.084" v="408"/>
          <pc:sldLayoutMkLst>
            <pc:docMk/>
            <pc:sldMasterMk cId="4111256006" sldId="2147483790"/>
            <pc:sldLayoutMk cId="1372225323" sldId="2147483793"/>
          </pc:sldLayoutMkLst>
        </pc:sldLayoutChg>
        <pc:sldLayoutChg chg="add">
          <pc:chgData name="Beck, Katherine" userId="S::katherine.beck@tea.texas.gov::e1e04e99-76be-457d-a1b4-1c90ae9d9561" providerId="AD" clId="Web-{9C1C2DAE-ADDE-5AC3-798B-89E353B7E5E2}" dt="2023-10-27T17:53:15.084" v="408"/>
          <pc:sldLayoutMkLst>
            <pc:docMk/>
            <pc:sldMasterMk cId="4111256006" sldId="2147483790"/>
            <pc:sldLayoutMk cId="1020958006" sldId="2147483794"/>
          </pc:sldLayoutMkLst>
        </pc:sldLayoutChg>
      </pc:sldMasterChg>
    </pc:docChg>
  </pc:docChgLst>
  <pc:docChgLst>
    <pc:chgData name="Guinn, Sarah" userId="S::sarah.guinn@tea.texas.gov::63e3ce5a-fcc6-474a-b3de-375720223e75" providerId="AD" clId="Web-{5538AA0D-9614-56B3-1637-23FBD1FD1C78}"/>
    <pc:docChg chg="modSld">
      <pc:chgData name="Guinn, Sarah" userId="S::sarah.guinn@tea.texas.gov::63e3ce5a-fcc6-474a-b3de-375720223e75" providerId="AD" clId="Web-{5538AA0D-9614-56B3-1637-23FBD1FD1C78}" dt="2023-09-05T16:14:59.459" v="11" actId="1076"/>
      <pc:docMkLst>
        <pc:docMk/>
      </pc:docMkLst>
      <pc:sldChg chg="addSp delSp modSp">
        <pc:chgData name="Guinn, Sarah" userId="S::sarah.guinn@tea.texas.gov::63e3ce5a-fcc6-474a-b3de-375720223e75" providerId="AD" clId="Web-{5538AA0D-9614-56B3-1637-23FBD1FD1C78}" dt="2023-09-05T16:14:59.459" v="11" actId="1076"/>
        <pc:sldMkLst>
          <pc:docMk/>
          <pc:sldMk cId="99080806" sldId="298"/>
        </pc:sldMkLst>
        <pc:spChg chg="mod">
          <ac:chgData name="Guinn, Sarah" userId="S::sarah.guinn@tea.texas.gov::63e3ce5a-fcc6-474a-b3de-375720223e75" providerId="AD" clId="Web-{5538AA0D-9614-56B3-1637-23FBD1FD1C78}" dt="2023-09-05T16:14:59.459" v="11" actId="1076"/>
          <ac:spMkLst>
            <pc:docMk/>
            <pc:sldMk cId="99080806" sldId="298"/>
            <ac:spMk id="3" creationId="{755C4DC4-A270-E738-9F0A-2F643EF2D3B4}"/>
          </ac:spMkLst>
        </pc:spChg>
        <pc:spChg chg="mod">
          <ac:chgData name="Guinn, Sarah" userId="S::sarah.guinn@tea.texas.gov::63e3ce5a-fcc6-474a-b3de-375720223e75" providerId="AD" clId="Web-{5538AA0D-9614-56B3-1637-23FBD1FD1C78}" dt="2023-09-05T16:14:11.583" v="5" actId="14100"/>
          <ac:spMkLst>
            <pc:docMk/>
            <pc:sldMk cId="99080806" sldId="298"/>
            <ac:spMk id="4" creationId="{03910710-1157-12BB-799A-C3CEFA1794F2}"/>
          </ac:spMkLst>
        </pc:spChg>
        <pc:spChg chg="add mod">
          <ac:chgData name="Guinn, Sarah" userId="S::sarah.guinn@tea.texas.gov::63e3ce5a-fcc6-474a-b3de-375720223e75" providerId="AD" clId="Web-{5538AA0D-9614-56B3-1637-23FBD1FD1C78}" dt="2023-09-05T16:14:35.818" v="10" actId="1076"/>
          <ac:spMkLst>
            <pc:docMk/>
            <pc:sldMk cId="99080806" sldId="298"/>
            <ac:spMk id="5" creationId="{E6F7CB28-19A8-56A3-962E-35889060E055}"/>
          </ac:spMkLst>
        </pc:spChg>
        <pc:spChg chg="del">
          <ac:chgData name="Guinn, Sarah" userId="S::sarah.guinn@tea.texas.gov::63e3ce5a-fcc6-474a-b3de-375720223e75" providerId="AD" clId="Web-{5538AA0D-9614-56B3-1637-23FBD1FD1C78}" dt="2023-09-05T16:14:09.723" v="2"/>
          <ac:spMkLst>
            <pc:docMk/>
            <pc:sldMk cId="99080806" sldId="298"/>
            <ac:spMk id="11" creationId="{CE2A299B-D2CF-BE98-AF44-58F668412534}"/>
          </ac:spMkLst>
        </pc:spChg>
        <pc:spChg chg="del">
          <ac:chgData name="Guinn, Sarah" userId="S::sarah.guinn@tea.texas.gov::63e3ce5a-fcc6-474a-b3de-375720223e75" providerId="AD" clId="Web-{5538AA0D-9614-56B3-1637-23FBD1FD1C78}" dt="2023-09-05T16:14:09.723" v="1"/>
          <ac:spMkLst>
            <pc:docMk/>
            <pc:sldMk cId="99080806" sldId="298"/>
            <ac:spMk id="14" creationId="{108A803C-27E3-99DF-F617-E992309BC809}"/>
          </ac:spMkLst>
        </pc:spChg>
        <pc:graphicFrameChg chg="del">
          <ac:chgData name="Guinn, Sarah" userId="S::sarah.guinn@tea.texas.gov::63e3ce5a-fcc6-474a-b3de-375720223e75" providerId="AD" clId="Web-{5538AA0D-9614-56B3-1637-23FBD1FD1C78}" dt="2023-09-05T16:14:09.786" v="4"/>
          <ac:graphicFrameMkLst>
            <pc:docMk/>
            <pc:sldMk cId="99080806" sldId="298"/>
            <ac:graphicFrameMk id="8" creationId="{F41AB05B-B679-5CF9-6095-EBE8B443B291}"/>
          </ac:graphicFrameMkLst>
        </pc:graphicFrameChg>
        <pc:graphicFrameChg chg="del">
          <ac:chgData name="Guinn, Sarah" userId="S::sarah.guinn@tea.texas.gov::63e3ce5a-fcc6-474a-b3de-375720223e75" providerId="AD" clId="Web-{5538AA0D-9614-56B3-1637-23FBD1FD1C78}" dt="2023-09-05T16:14:00.082" v="0"/>
          <ac:graphicFrameMkLst>
            <pc:docMk/>
            <pc:sldMk cId="99080806" sldId="298"/>
            <ac:graphicFrameMk id="9" creationId="{39DAB4E5-2F1E-DD4E-4AD6-EF2EF10C70AA}"/>
          </ac:graphicFrameMkLst>
        </pc:graphicFrameChg>
        <pc:graphicFrameChg chg="del">
          <ac:chgData name="Guinn, Sarah" userId="S::sarah.guinn@tea.texas.gov::63e3ce5a-fcc6-474a-b3de-375720223e75" providerId="AD" clId="Web-{5538AA0D-9614-56B3-1637-23FBD1FD1C78}" dt="2023-09-05T16:14:09.786" v="3"/>
          <ac:graphicFrameMkLst>
            <pc:docMk/>
            <pc:sldMk cId="99080806" sldId="298"/>
            <ac:graphicFrameMk id="13" creationId="{47AD5C07-52D6-3371-30E1-B9484F38E2FF}"/>
          </ac:graphicFrameMkLst>
        </pc:graphicFrameChg>
      </pc:sldChg>
    </pc:docChg>
  </pc:docChgLst>
  <pc:docChgLst>
    <pc:chgData name="Guinn, Sarah" userId="S::sarah.guinn@tea.texas.gov::63e3ce5a-fcc6-474a-b3de-375720223e75" providerId="AD" clId="Web-{E4CDAE13-C8A1-C06C-0705-8E47606F41B8}"/>
    <pc:docChg chg="modSld">
      <pc:chgData name="Guinn, Sarah" userId="S::sarah.guinn@tea.texas.gov::63e3ce5a-fcc6-474a-b3de-375720223e75" providerId="AD" clId="Web-{E4CDAE13-C8A1-C06C-0705-8E47606F41B8}" dt="2023-10-10T16:42:42.163" v="149" actId="1076"/>
      <pc:docMkLst>
        <pc:docMk/>
      </pc:docMkLst>
      <pc:sldChg chg="modSp">
        <pc:chgData name="Guinn, Sarah" userId="S::sarah.guinn@tea.texas.gov::63e3ce5a-fcc6-474a-b3de-375720223e75" providerId="AD" clId="Web-{E4CDAE13-C8A1-C06C-0705-8E47606F41B8}" dt="2023-10-10T16:37:40.512" v="107" actId="20577"/>
        <pc:sldMkLst>
          <pc:docMk/>
          <pc:sldMk cId="349678021" sldId="295"/>
        </pc:sldMkLst>
        <pc:spChg chg="mod">
          <ac:chgData name="Guinn, Sarah" userId="S::sarah.guinn@tea.texas.gov::63e3ce5a-fcc6-474a-b3de-375720223e75" providerId="AD" clId="Web-{E4CDAE13-C8A1-C06C-0705-8E47606F41B8}" dt="2023-10-10T16:37:40.512" v="107" actId="20577"/>
          <ac:spMkLst>
            <pc:docMk/>
            <pc:sldMk cId="349678021" sldId="295"/>
            <ac:spMk id="4" creationId="{34028033-A41C-C362-505D-0CCFDE53566F}"/>
          </ac:spMkLst>
        </pc:spChg>
      </pc:sldChg>
      <pc:sldChg chg="modSp">
        <pc:chgData name="Guinn, Sarah" userId="S::sarah.guinn@tea.texas.gov::63e3ce5a-fcc6-474a-b3de-375720223e75" providerId="AD" clId="Web-{E4CDAE13-C8A1-C06C-0705-8E47606F41B8}" dt="2023-10-10T16:40:07.408" v="136" actId="20577"/>
        <pc:sldMkLst>
          <pc:docMk/>
          <pc:sldMk cId="3022864456" sldId="296"/>
        </pc:sldMkLst>
        <pc:spChg chg="mod">
          <ac:chgData name="Guinn, Sarah" userId="S::sarah.guinn@tea.texas.gov::63e3ce5a-fcc6-474a-b3de-375720223e75" providerId="AD" clId="Web-{E4CDAE13-C8A1-C06C-0705-8E47606F41B8}" dt="2023-10-10T16:39:11.406" v="117" actId="1076"/>
          <ac:spMkLst>
            <pc:docMk/>
            <pc:sldMk cId="3022864456" sldId="296"/>
            <ac:spMk id="3" creationId="{006FEAF8-4E77-64E3-671A-3F60AD73C4C2}"/>
          </ac:spMkLst>
        </pc:spChg>
        <pc:spChg chg="mod">
          <ac:chgData name="Guinn, Sarah" userId="S::sarah.guinn@tea.texas.gov::63e3ce5a-fcc6-474a-b3de-375720223e75" providerId="AD" clId="Web-{E4CDAE13-C8A1-C06C-0705-8E47606F41B8}" dt="2023-10-10T16:40:07.408" v="136" actId="20577"/>
          <ac:spMkLst>
            <pc:docMk/>
            <pc:sldMk cId="3022864456" sldId="296"/>
            <ac:spMk id="4" creationId="{34028033-A41C-C362-505D-0CCFDE53566F}"/>
          </ac:spMkLst>
        </pc:spChg>
        <pc:picChg chg="mod">
          <ac:chgData name="Guinn, Sarah" userId="S::sarah.guinn@tea.texas.gov::63e3ce5a-fcc6-474a-b3de-375720223e75" providerId="AD" clId="Web-{E4CDAE13-C8A1-C06C-0705-8E47606F41B8}" dt="2023-10-10T16:39:05.484" v="116" actId="14100"/>
          <ac:picMkLst>
            <pc:docMk/>
            <pc:sldMk cId="3022864456" sldId="296"/>
            <ac:picMk id="1026" creationId="{D9A9F55B-5281-6070-6A5B-A13DCAFBA231}"/>
          </ac:picMkLst>
        </pc:picChg>
      </pc:sldChg>
      <pc:sldChg chg="modSp">
        <pc:chgData name="Guinn, Sarah" userId="S::sarah.guinn@tea.texas.gov::63e3ce5a-fcc6-474a-b3de-375720223e75" providerId="AD" clId="Web-{E4CDAE13-C8A1-C06C-0705-8E47606F41B8}" dt="2023-10-10T16:42:42.163" v="149" actId="1076"/>
        <pc:sldMkLst>
          <pc:docMk/>
          <pc:sldMk cId="2136892941" sldId="299"/>
        </pc:sldMkLst>
        <pc:spChg chg="mod">
          <ac:chgData name="Guinn, Sarah" userId="S::sarah.guinn@tea.texas.gov::63e3ce5a-fcc6-474a-b3de-375720223e75" providerId="AD" clId="Web-{E4CDAE13-C8A1-C06C-0705-8E47606F41B8}" dt="2023-10-10T16:41:37.380" v="147" actId="20577"/>
          <ac:spMkLst>
            <pc:docMk/>
            <pc:sldMk cId="2136892941" sldId="299"/>
            <ac:spMk id="10" creationId="{5B6185C0-3E70-ADE0-92C1-76C2221CFA9A}"/>
          </ac:spMkLst>
        </pc:spChg>
        <pc:graphicFrameChg chg="mod">
          <ac:chgData name="Guinn, Sarah" userId="S::sarah.guinn@tea.texas.gov::63e3ce5a-fcc6-474a-b3de-375720223e75" providerId="AD" clId="Web-{E4CDAE13-C8A1-C06C-0705-8E47606F41B8}" dt="2023-10-10T16:42:42.163" v="149" actId="1076"/>
          <ac:graphicFrameMkLst>
            <pc:docMk/>
            <pc:sldMk cId="2136892941" sldId="299"/>
            <ac:graphicFrameMk id="77" creationId="{253F4B11-0F77-6FE7-683F-F0F841C68492}"/>
          </ac:graphicFrameMkLst>
        </pc:graphicFrameChg>
      </pc:sldChg>
    </pc:docChg>
  </pc:docChgLst>
  <pc:docChgLst>
    <pc:chgData name="Tian, Iris" userId="S::iris.tian@tea.texas.gov::3a26a5fd-4e1b-43a0-894e-6aa7fc051075" providerId="AD" clId="Web-{2195F502-2AEA-92D7-A762-58B3BADB3AEC}"/>
    <pc:docChg chg="modSld">
      <pc:chgData name="Tian, Iris" userId="S::iris.tian@tea.texas.gov::3a26a5fd-4e1b-43a0-894e-6aa7fc051075" providerId="AD" clId="Web-{2195F502-2AEA-92D7-A762-58B3BADB3AEC}" dt="2023-08-21T16:51:11.411" v="11" actId="20577"/>
      <pc:docMkLst>
        <pc:docMk/>
      </pc:docMkLst>
      <pc:sldChg chg="modSp">
        <pc:chgData name="Tian, Iris" userId="S::iris.tian@tea.texas.gov::3a26a5fd-4e1b-43a0-894e-6aa7fc051075" providerId="AD" clId="Web-{2195F502-2AEA-92D7-A762-58B3BADB3AEC}" dt="2023-08-21T16:51:11.411" v="11" actId="20577"/>
        <pc:sldMkLst>
          <pc:docMk/>
          <pc:sldMk cId="1661266279" sldId="280"/>
        </pc:sldMkLst>
        <pc:spChg chg="mod">
          <ac:chgData name="Tian, Iris" userId="S::iris.tian@tea.texas.gov::3a26a5fd-4e1b-43a0-894e-6aa7fc051075" providerId="AD" clId="Web-{2195F502-2AEA-92D7-A762-58B3BADB3AEC}" dt="2023-08-21T16:51:11.411" v="11" actId="20577"/>
          <ac:spMkLst>
            <pc:docMk/>
            <pc:sldMk cId="1661266279" sldId="280"/>
            <ac:spMk id="2" creationId="{FD03A14E-0327-76B4-4D43-018EAFE80796}"/>
          </ac:spMkLst>
        </pc:spChg>
      </pc:sldChg>
      <pc:sldChg chg="modSp">
        <pc:chgData name="Tian, Iris" userId="S::iris.tian@tea.texas.gov::3a26a5fd-4e1b-43a0-894e-6aa7fc051075" providerId="AD" clId="Web-{2195F502-2AEA-92D7-A762-58B3BADB3AEC}" dt="2023-08-21T16:50:24.472" v="1" actId="20577"/>
        <pc:sldMkLst>
          <pc:docMk/>
          <pc:sldMk cId="3610694678" sldId="287"/>
        </pc:sldMkLst>
        <pc:spChg chg="mod">
          <ac:chgData name="Tian, Iris" userId="S::iris.tian@tea.texas.gov::3a26a5fd-4e1b-43a0-894e-6aa7fc051075" providerId="AD" clId="Web-{2195F502-2AEA-92D7-A762-58B3BADB3AEC}" dt="2023-08-21T16:50:24.472" v="1" actId="20577"/>
          <ac:spMkLst>
            <pc:docMk/>
            <pc:sldMk cId="3610694678" sldId="287"/>
            <ac:spMk id="5" creationId="{C0E20AB8-2AB7-6434-A76D-765E3C1F0259}"/>
          </ac:spMkLst>
        </pc:spChg>
      </pc:sldChg>
    </pc:docChg>
  </pc:docChgLst>
  <pc:docChgLst>
    <pc:chgData name="Beck, Katherine" userId="S::katherine.beck@tea.texas.gov::e1e04e99-76be-457d-a1b4-1c90ae9d9561" providerId="AD" clId="Web-{05B6B571-35AF-ECBC-B3B7-25A4DE92F1D8}"/>
    <pc:docChg chg="modSld">
      <pc:chgData name="Beck, Katherine" userId="S::katherine.beck@tea.texas.gov::e1e04e99-76be-457d-a1b4-1c90ae9d9561" providerId="AD" clId="Web-{05B6B571-35AF-ECBC-B3B7-25A4DE92F1D8}" dt="2023-09-05T16:10:24.705" v="3"/>
      <pc:docMkLst>
        <pc:docMk/>
      </pc:docMkLst>
      <pc:sldChg chg="addSp delSp modSp">
        <pc:chgData name="Beck, Katherine" userId="S::katherine.beck@tea.texas.gov::e1e04e99-76be-457d-a1b4-1c90ae9d9561" providerId="AD" clId="Web-{05B6B571-35AF-ECBC-B3B7-25A4DE92F1D8}" dt="2023-09-05T16:10:24.705" v="3"/>
        <pc:sldMkLst>
          <pc:docMk/>
          <pc:sldMk cId="1661266279" sldId="280"/>
        </pc:sldMkLst>
        <pc:spChg chg="add del mod">
          <ac:chgData name="Beck, Katherine" userId="S::katherine.beck@tea.texas.gov::e1e04e99-76be-457d-a1b4-1c90ae9d9561" providerId="AD" clId="Web-{05B6B571-35AF-ECBC-B3B7-25A4DE92F1D8}" dt="2023-09-05T16:10:24.705" v="3"/>
          <ac:spMkLst>
            <pc:docMk/>
            <pc:sldMk cId="1661266279" sldId="280"/>
            <ac:spMk id="3" creationId="{5F432E3F-0CCD-36B2-5CBF-A6B6B9E793D1}"/>
          </ac:spMkLst>
        </pc:spChg>
      </pc:sldChg>
    </pc:docChg>
  </pc:docChgLst>
  <pc:docChgLst>
    <pc:chgData name="Guinn, Sarah" userId="S::sarah.guinn@tea.texas.gov::63e3ce5a-fcc6-474a-b3de-375720223e75" providerId="AD" clId="Web-{3B83D23D-5434-ACB0-369B-8307001AA2AC}"/>
    <pc:docChg chg="addSld modSld">
      <pc:chgData name="Guinn, Sarah" userId="S::sarah.guinn@tea.texas.gov::63e3ce5a-fcc6-474a-b3de-375720223e75" providerId="AD" clId="Web-{3B83D23D-5434-ACB0-369B-8307001AA2AC}" dt="2023-08-31T20:56:17.816" v="29" actId="1076"/>
      <pc:docMkLst>
        <pc:docMk/>
      </pc:docMkLst>
      <pc:sldChg chg="delSp">
        <pc:chgData name="Guinn, Sarah" userId="S::sarah.guinn@tea.texas.gov::63e3ce5a-fcc6-474a-b3de-375720223e75" providerId="AD" clId="Web-{3B83D23D-5434-ACB0-369B-8307001AA2AC}" dt="2023-08-31T20:45:28.965" v="0"/>
        <pc:sldMkLst>
          <pc:docMk/>
          <pc:sldMk cId="4130700174" sldId="256"/>
        </pc:sldMkLst>
        <pc:spChg chg="del">
          <ac:chgData name="Guinn, Sarah" userId="S::sarah.guinn@tea.texas.gov::63e3ce5a-fcc6-474a-b3de-375720223e75" providerId="AD" clId="Web-{3B83D23D-5434-ACB0-369B-8307001AA2AC}" dt="2023-08-31T20:45:28.965" v="0"/>
          <ac:spMkLst>
            <pc:docMk/>
            <pc:sldMk cId="4130700174" sldId="256"/>
            <ac:spMk id="2" creationId="{C85E9E2E-21CC-63F9-8625-438506B5E8D6}"/>
          </ac:spMkLst>
        </pc:spChg>
      </pc:sldChg>
      <pc:sldChg chg="delSp">
        <pc:chgData name="Guinn, Sarah" userId="S::sarah.guinn@tea.texas.gov::63e3ce5a-fcc6-474a-b3de-375720223e75" providerId="AD" clId="Web-{3B83D23D-5434-ACB0-369B-8307001AA2AC}" dt="2023-08-31T20:45:42.825" v="4"/>
        <pc:sldMkLst>
          <pc:docMk/>
          <pc:sldMk cId="3567529358" sldId="273"/>
        </pc:sldMkLst>
        <pc:spChg chg="del">
          <ac:chgData name="Guinn, Sarah" userId="S::sarah.guinn@tea.texas.gov::63e3ce5a-fcc6-474a-b3de-375720223e75" providerId="AD" clId="Web-{3B83D23D-5434-ACB0-369B-8307001AA2AC}" dt="2023-08-31T20:45:42.825" v="4"/>
          <ac:spMkLst>
            <pc:docMk/>
            <pc:sldMk cId="3567529358" sldId="273"/>
            <ac:spMk id="3" creationId="{F39B80D3-8D68-2425-B422-1C4BD677DBD0}"/>
          </ac:spMkLst>
        </pc:spChg>
      </pc:sldChg>
      <pc:sldChg chg="delSp">
        <pc:chgData name="Guinn, Sarah" userId="S::sarah.guinn@tea.texas.gov::63e3ce5a-fcc6-474a-b3de-375720223e75" providerId="AD" clId="Web-{3B83D23D-5434-ACB0-369B-8307001AA2AC}" dt="2023-08-31T20:45:36.340" v="3"/>
        <pc:sldMkLst>
          <pc:docMk/>
          <pc:sldMk cId="3596081720" sldId="281"/>
        </pc:sldMkLst>
        <pc:spChg chg="del">
          <ac:chgData name="Guinn, Sarah" userId="S::sarah.guinn@tea.texas.gov::63e3ce5a-fcc6-474a-b3de-375720223e75" providerId="AD" clId="Web-{3B83D23D-5434-ACB0-369B-8307001AA2AC}" dt="2023-08-31T20:45:36.340" v="3"/>
          <ac:spMkLst>
            <pc:docMk/>
            <pc:sldMk cId="3596081720" sldId="281"/>
            <ac:spMk id="11" creationId="{F08E4A09-3E43-6F0B-CB56-727F2DF03139}"/>
          </ac:spMkLst>
        </pc:spChg>
      </pc:sldChg>
      <pc:sldChg chg="delSp">
        <pc:chgData name="Guinn, Sarah" userId="S::sarah.guinn@tea.texas.gov::63e3ce5a-fcc6-474a-b3de-375720223e75" providerId="AD" clId="Web-{3B83D23D-5434-ACB0-369B-8307001AA2AC}" dt="2023-08-31T20:45:46.637" v="5"/>
        <pc:sldMkLst>
          <pc:docMk/>
          <pc:sldMk cId="3900297308" sldId="285"/>
        </pc:sldMkLst>
        <pc:spChg chg="del">
          <ac:chgData name="Guinn, Sarah" userId="S::sarah.guinn@tea.texas.gov::63e3ce5a-fcc6-474a-b3de-375720223e75" providerId="AD" clId="Web-{3B83D23D-5434-ACB0-369B-8307001AA2AC}" dt="2023-08-31T20:45:46.637" v="5"/>
          <ac:spMkLst>
            <pc:docMk/>
            <pc:sldMk cId="3900297308" sldId="285"/>
            <ac:spMk id="2" creationId="{7898DDC9-8123-D56D-8C46-9FA1E76CD56B}"/>
          </ac:spMkLst>
        </pc:spChg>
      </pc:sldChg>
      <pc:sldChg chg="delSp modSp">
        <pc:chgData name="Guinn, Sarah" userId="S::sarah.guinn@tea.texas.gov::63e3ce5a-fcc6-474a-b3de-375720223e75" providerId="AD" clId="Web-{3B83D23D-5434-ACB0-369B-8307001AA2AC}" dt="2023-08-31T20:45:33.231" v="2"/>
        <pc:sldMkLst>
          <pc:docMk/>
          <pc:sldMk cId="3610694678" sldId="287"/>
        </pc:sldMkLst>
        <pc:spChg chg="del mod">
          <ac:chgData name="Guinn, Sarah" userId="S::sarah.guinn@tea.texas.gov::63e3ce5a-fcc6-474a-b3de-375720223e75" providerId="AD" clId="Web-{3B83D23D-5434-ACB0-369B-8307001AA2AC}" dt="2023-08-31T20:45:33.231" v="2"/>
          <ac:spMkLst>
            <pc:docMk/>
            <pc:sldMk cId="3610694678" sldId="287"/>
            <ac:spMk id="2" creationId="{D94EF355-C92E-499B-54F3-D757995CC361}"/>
          </ac:spMkLst>
        </pc:spChg>
      </pc:sldChg>
      <pc:sldChg chg="delSp">
        <pc:chgData name="Guinn, Sarah" userId="S::sarah.guinn@tea.texas.gov::63e3ce5a-fcc6-474a-b3de-375720223e75" providerId="AD" clId="Web-{3B83D23D-5434-ACB0-369B-8307001AA2AC}" dt="2023-08-31T20:45:53.763" v="6"/>
        <pc:sldMkLst>
          <pc:docMk/>
          <pc:sldMk cId="2972119361" sldId="288"/>
        </pc:sldMkLst>
        <pc:spChg chg="del">
          <ac:chgData name="Guinn, Sarah" userId="S::sarah.guinn@tea.texas.gov::63e3ce5a-fcc6-474a-b3de-375720223e75" providerId="AD" clId="Web-{3B83D23D-5434-ACB0-369B-8307001AA2AC}" dt="2023-08-31T20:45:53.763" v="6"/>
          <ac:spMkLst>
            <pc:docMk/>
            <pc:sldMk cId="2972119361" sldId="288"/>
            <ac:spMk id="2" creationId="{D9CE9EED-D424-681F-4788-3F6E967BF8B6}"/>
          </ac:spMkLst>
        </pc:spChg>
      </pc:sldChg>
      <pc:sldChg chg="delSp">
        <pc:chgData name="Guinn, Sarah" userId="S::sarah.guinn@tea.texas.gov::63e3ce5a-fcc6-474a-b3de-375720223e75" providerId="AD" clId="Web-{3B83D23D-5434-ACB0-369B-8307001AA2AC}" dt="2023-08-31T20:46:01.513" v="8"/>
        <pc:sldMkLst>
          <pc:docMk/>
          <pc:sldMk cId="1092821132" sldId="292"/>
        </pc:sldMkLst>
        <pc:spChg chg="del">
          <ac:chgData name="Guinn, Sarah" userId="S::sarah.guinn@tea.texas.gov::63e3ce5a-fcc6-474a-b3de-375720223e75" providerId="AD" clId="Web-{3B83D23D-5434-ACB0-369B-8307001AA2AC}" dt="2023-08-31T20:46:01.513" v="8"/>
          <ac:spMkLst>
            <pc:docMk/>
            <pc:sldMk cId="1092821132" sldId="292"/>
            <ac:spMk id="2" creationId="{3EE6D341-001B-675F-65CE-8AD3A5A6E75D}"/>
          </ac:spMkLst>
        </pc:spChg>
      </pc:sldChg>
      <pc:sldChg chg="delSp">
        <pc:chgData name="Guinn, Sarah" userId="S::sarah.guinn@tea.texas.gov::63e3ce5a-fcc6-474a-b3de-375720223e75" providerId="AD" clId="Web-{3B83D23D-5434-ACB0-369B-8307001AA2AC}" dt="2023-08-31T20:45:57.653" v="7"/>
        <pc:sldMkLst>
          <pc:docMk/>
          <pc:sldMk cId="1148755483" sldId="294"/>
        </pc:sldMkLst>
        <pc:spChg chg="del">
          <ac:chgData name="Guinn, Sarah" userId="S::sarah.guinn@tea.texas.gov::63e3ce5a-fcc6-474a-b3de-375720223e75" providerId="AD" clId="Web-{3B83D23D-5434-ACB0-369B-8307001AA2AC}" dt="2023-08-31T20:45:57.653" v="7"/>
          <ac:spMkLst>
            <pc:docMk/>
            <pc:sldMk cId="1148755483" sldId="294"/>
            <ac:spMk id="3" creationId="{AB17E4F5-09F4-F7AC-32C3-42DCB3F37244}"/>
          </ac:spMkLst>
        </pc:spChg>
      </pc:sldChg>
      <pc:sldChg chg="modSp">
        <pc:chgData name="Guinn, Sarah" userId="S::sarah.guinn@tea.texas.gov::63e3ce5a-fcc6-474a-b3de-375720223e75" providerId="AD" clId="Web-{3B83D23D-5434-ACB0-369B-8307001AA2AC}" dt="2023-08-31T20:47:24.860" v="13" actId="20577"/>
        <pc:sldMkLst>
          <pc:docMk/>
          <pc:sldMk cId="3022864456" sldId="296"/>
        </pc:sldMkLst>
        <pc:spChg chg="mod">
          <ac:chgData name="Guinn, Sarah" userId="S::sarah.guinn@tea.texas.gov::63e3ce5a-fcc6-474a-b3de-375720223e75" providerId="AD" clId="Web-{3B83D23D-5434-ACB0-369B-8307001AA2AC}" dt="2023-08-31T20:47:24.860" v="13" actId="20577"/>
          <ac:spMkLst>
            <pc:docMk/>
            <pc:sldMk cId="3022864456" sldId="296"/>
            <ac:spMk id="4" creationId="{34028033-A41C-C362-505D-0CCFDE53566F}"/>
          </ac:spMkLst>
        </pc:spChg>
      </pc:sldChg>
      <pc:sldChg chg="modSp">
        <pc:chgData name="Guinn, Sarah" userId="S::sarah.guinn@tea.texas.gov::63e3ce5a-fcc6-474a-b3de-375720223e75" providerId="AD" clId="Web-{3B83D23D-5434-ACB0-369B-8307001AA2AC}" dt="2023-08-31T20:53:11.013" v="27" actId="20577"/>
        <pc:sldMkLst>
          <pc:docMk/>
          <pc:sldMk cId="1813183265" sldId="297"/>
        </pc:sldMkLst>
        <pc:spChg chg="mod">
          <ac:chgData name="Guinn, Sarah" userId="S::sarah.guinn@tea.texas.gov::63e3ce5a-fcc6-474a-b3de-375720223e75" providerId="AD" clId="Web-{3B83D23D-5434-ACB0-369B-8307001AA2AC}" dt="2023-08-31T20:53:11.013" v="27" actId="20577"/>
          <ac:spMkLst>
            <pc:docMk/>
            <pc:sldMk cId="1813183265" sldId="297"/>
            <ac:spMk id="11" creationId="{CE2A299B-D2CF-BE98-AF44-58F668412534}"/>
          </ac:spMkLst>
        </pc:spChg>
      </pc:sldChg>
      <pc:sldChg chg="modSp add replId">
        <pc:chgData name="Guinn, Sarah" userId="S::sarah.guinn@tea.texas.gov::63e3ce5a-fcc6-474a-b3de-375720223e75" providerId="AD" clId="Web-{3B83D23D-5434-ACB0-369B-8307001AA2AC}" dt="2023-08-31T20:56:17.816" v="29" actId="1076"/>
        <pc:sldMkLst>
          <pc:docMk/>
          <pc:sldMk cId="99080806" sldId="298"/>
        </pc:sldMkLst>
        <pc:graphicFrameChg chg="mod">
          <ac:chgData name="Guinn, Sarah" userId="S::sarah.guinn@tea.texas.gov::63e3ce5a-fcc6-474a-b3de-375720223e75" providerId="AD" clId="Web-{3B83D23D-5434-ACB0-369B-8307001AA2AC}" dt="2023-08-31T20:56:17.816" v="29" actId="1076"/>
          <ac:graphicFrameMkLst>
            <pc:docMk/>
            <pc:sldMk cId="99080806" sldId="298"/>
            <ac:graphicFrameMk id="8" creationId="{F41AB05B-B679-5CF9-6095-EBE8B443B291}"/>
          </ac:graphicFrameMkLst>
        </pc:graphicFrameChg>
      </pc:sldChg>
    </pc:docChg>
  </pc:docChgLst>
  <pc:docChgLst>
    <pc:chgData name="Satsky, Holly" userId="S::holly.satsky@tea.texas.gov::c7621f54-757e-4869-9aa8-dc19c0cdca22" providerId="AD" clId="Web-{F3DBC11B-DD99-246A-74A1-713CF3FF00F3}"/>
    <pc:docChg chg="modSld">
      <pc:chgData name="Satsky, Holly" userId="S::holly.satsky@tea.texas.gov::c7621f54-757e-4869-9aa8-dc19c0cdca22" providerId="AD" clId="Web-{F3DBC11B-DD99-246A-74A1-713CF3FF00F3}" dt="2023-09-05T17:48:54.497" v="11"/>
      <pc:docMkLst>
        <pc:docMk/>
      </pc:docMkLst>
      <pc:sldChg chg="delSp modSp">
        <pc:chgData name="Satsky, Holly" userId="S::holly.satsky@tea.texas.gov::c7621f54-757e-4869-9aa8-dc19c0cdca22" providerId="AD" clId="Web-{F3DBC11B-DD99-246A-74A1-713CF3FF00F3}" dt="2023-09-05T17:48:01.464" v="6" actId="20577"/>
        <pc:sldMkLst>
          <pc:docMk/>
          <pc:sldMk cId="349678021" sldId="295"/>
        </pc:sldMkLst>
        <pc:spChg chg="del">
          <ac:chgData name="Satsky, Holly" userId="S::holly.satsky@tea.texas.gov::c7621f54-757e-4869-9aa8-dc19c0cdca22" providerId="AD" clId="Web-{F3DBC11B-DD99-246A-74A1-713CF3FF00F3}" dt="2023-09-05T17:47:28.979" v="2"/>
          <ac:spMkLst>
            <pc:docMk/>
            <pc:sldMk cId="349678021" sldId="295"/>
            <ac:spMk id="3" creationId="{2F1A12F9-2FB9-7EDC-3D06-976E640B55DA}"/>
          </ac:spMkLst>
        </pc:spChg>
        <pc:spChg chg="mod">
          <ac:chgData name="Satsky, Holly" userId="S::holly.satsky@tea.texas.gov::c7621f54-757e-4869-9aa8-dc19c0cdca22" providerId="AD" clId="Web-{F3DBC11B-DD99-246A-74A1-713CF3FF00F3}" dt="2023-09-05T17:47:53.933" v="5" actId="20577"/>
          <ac:spMkLst>
            <pc:docMk/>
            <pc:sldMk cId="349678021" sldId="295"/>
            <ac:spMk id="4" creationId="{34028033-A41C-C362-505D-0CCFDE53566F}"/>
          </ac:spMkLst>
        </pc:spChg>
        <pc:spChg chg="mod">
          <ac:chgData name="Satsky, Holly" userId="S::holly.satsky@tea.texas.gov::c7621f54-757e-4869-9aa8-dc19c0cdca22" providerId="AD" clId="Web-{F3DBC11B-DD99-246A-74A1-713CF3FF00F3}" dt="2023-09-05T17:48:01.464" v="6" actId="20577"/>
          <ac:spMkLst>
            <pc:docMk/>
            <pc:sldMk cId="349678021" sldId="295"/>
            <ac:spMk id="12" creationId="{4635D7F3-2082-765B-E5FC-437C680F78E5}"/>
          </ac:spMkLst>
        </pc:spChg>
      </pc:sldChg>
      <pc:sldChg chg="delSp modSp">
        <pc:chgData name="Satsky, Holly" userId="S::holly.satsky@tea.texas.gov::c7621f54-757e-4869-9aa8-dc19c0cdca22" providerId="AD" clId="Web-{F3DBC11B-DD99-246A-74A1-713CF3FF00F3}" dt="2023-09-05T17:48:19.684" v="8"/>
        <pc:sldMkLst>
          <pc:docMk/>
          <pc:sldMk cId="3022864456" sldId="296"/>
        </pc:sldMkLst>
        <pc:spChg chg="del mod">
          <ac:chgData name="Satsky, Holly" userId="S::holly.satsky@tea.texas.gov::c7621f54-757e-4869-9aa8-dc19c0cdca22" providerId="AD" clId="Web-{F3DBC11B-DD99-246A-74A1-713CF3FF00F3}" dt="2023-09-05T17:48:19.684" v="8"/>
          <ac:spMkLst>
            <pc:docMk/>
            <pc:sldMk cId="3022864456" sldId="296"/>
            <ac:spMk id="6" creationId="{6681A336-318E-779C-2FF9-E607E540BD98}"/>
          </ac:spMkLst>
        </pc:spChg>
      </pc:sldChg>
      <pc:sldChg chg="delSp modSp delCm">
        <pc:chgData name="Satsky, Holly" userId="S::holly.satsky@tea.texas.gov::c7621f54-757e-4869-9aa8-dc19c0cdca22" providerId="AD" clId="Web-{F3DBC11B-DD99-246A-74A1-713CF3FF00F3}" dt="2023-09-05T17:48:38.434" v="10"/>
        <pc:sldMkLst>
          <pc:docMk/>
          <pc:sldMk cId="1813183265" sldId="297"/>
        </pc:sldMkLst>
        <pc:spChg chg="del">
          <ac:chgData name="Satsky, Holly" userId="S::holly.satsky@tea.texas.gov::c7621f54-757e-4869-9aa8-dc19c0cdca22" providerId="AD" clId="Web-{F3DBC11B-DD99-246A-74A1-713CF3FF00F3}" dt="2023-09-05T17:48:38.434" v="10"/>
          <ac:spMkLst>
            <pc:docMk/>
            <pc:sldMk cId="1813183265" sldId="297"/>
            <ac:spMk id="6" creationId="{271565C0-EBE1-7F2A-0F40-F20305F80706}"/>
          </ac:spMkLst>
        </pc:spChg>
        <pc:graphicFrameChg chg="mod">
          <ac:chgData name="Satsky, Holly" userId="S::holly.satsky@tea.texas.gov::c7621f54-757e-4869-9aa8-dc19c0cdca22" providerId="AD" clId="Web-{F3DBC11B-DD99-246A-74A1-713CF3FF00F3}" dt="2023-09-05T15:11:10.993" v="1" actId="1076"/>
          <ac:graphicFrameMkLst>
            <pc:docMk/>
            <pc:sldMk cId="1813183265" sldId="297"/>
            <ac:graphicFrameMk id="8" creationId="{F41AB05B-B679-5CF9-6095-EBE8B443B291}"/>
          </ac:graphicFrameMkLst>
        </pc:graphicFrameChg>
      </pc:sldChg>
      <pc:sldChg chg="delCm">
        <pc:chgData name="Satsky, Holly" userId="S::holly.satsky@tea.texas.gov::c7621f54-757e-4869-9aa8-dc19c0cdca22" providerId="AD" clId="Web-{F3DBC11B-DD99-246A-74A1-713CF3FF00F3}" dt="2023-09-05T17:48:54.497" v="11"/>
        <pc:sldMkLst>
          <pc:docMk/>
          <pc:sldMk cId="2136892941" sldId="299"/>
        </pc:sldMkLst>
      </pc:sldChg>
    </pc:docChg>
  </pc:docChgLst>
  <pc:docChgLst>
    <pc:chgData name="Salas, Vincent" userId="S::vincent.salas@tea.texas.gov::594b2508-dc8c-4252-97a5-d4858c1c46b8" providerId="AD" clId="Web-{E42B041D-70B6-A60B-7155-9D0CBAC016FE}"/>
    <pc:docChg chg="modSld">
      <pc:chgData name="Salas, Vincent" userId="S::vincent.salas@tea.texas.gov::594b2508-dc8c-4252-97a5-d4858c1c46b8" providerId="AD" clId="Web-{E42B041D-70B6-A60B-7155-9D0CBAC016FE}" dt="2023-08-31T20:47:21.916" v="1" actId="20577"/>
      <pc:docMkLst>
        <pc:docMk/>
      </pc:docMkLst>
      <pc:sldChg chg="modSp">
        <pc:chgData name="Salas, Vincent" userId="S::vincent.salas@tea.texas.gov::594b2508-dc8c-4252-97a5-d4858c1c46b8" providerId="AD" clId="Web-{E42B041D-70B6-A60B-7155-9D0CBAC016FE}" dt="2023-08-31T20:47:21.916" v="1" actId="20577"/>
        <pc:sldMkLst>
          <pc:docMk/>
          <pc:sldMk cId="349678021" sldId="295"/>
        </pc:sldMkLst>
        <pc:spChg chg="mod">
          <ac:chgData name="Salas, Vincent" userId="S::vincent.salas@tea.texas.gov::594b2508-dc8c-4252-97a5-d4858c1c46b8" providerId="AD" clId="Web-{E42B041D-70B6-A60B-7155-9D0CBAC016FE}" dt="2023-08-31T20:47:21.916" v="1" actId="20577"/>
          <ac:spMkLst>
            <pc:docMk/>
            <pc:sldMk cId="349678021" sldId="295"/>
            <ac:spMk id="4" creationId="{34028033-A41C-C362-505D-0CCFDE53566F}"/>
          </ac:spMkLst>
        </pc:spChg>
      </pc:sldChg>
    </pc:docChg>
  </pc:docChgLst>
  <pc:docChgLst>
    <pc:chgData name="Tian, Iris" userId="S::iris.tian@tea.texas.gov::3a26a5fd-4e1b-43a0-894e-6aa7fc051075" providerId="AD" clId="Web-{7BECA874-F131-4012-FCDF-E279FB242CCB}"/>
    <pc:docChg chg="">
      <pc:chgData name="Tian, Iris" userId="S::iris.tian@tea.texas.gov::3a26a5fd-4e1b-43a0-894e-6aa7fc051075" providerId="AD" clId="Web-{7BECA874-F131-4012-FCDF-E279FB242CCB}" dt="2023-08-24T18:04:21.835" v="0"/>
      <pc:docMkLst>
        <pc:docMk/>
      </pc:docMkLst>
      <pc:sldChg chg="modCm">
        <pc:chgData name="Tian, Iris" userId="S::iris.tian@tea.texas.gov::3a26a5fd-4e1b-43a0-894e-6aa7fc051075" providerId="AD" clId="Web-{7BECA874-F131-4012-FCDF-E279FB242CCB}" dt="2023-08-24T18:04:21.835" v="0"/>
        <pc:sldMkLst>
          <pc:docMk/>
          <pc:sldMk cId="3567529358" sldId="273"/>
        </pc:sldMkLst>
      </pc:sldChg>
    </pc:docChg>
  </pc:docChgLst>
  <pc:docChgLst>
    <pc:chgData name="Beck, Katherine" userId="S::katherine.beck@tea.texas.gov::e1e04e99-76be-457d-a1b4-1c90ae9d9561" providerId="AD" clId="Web-{C33824AB-6906-93DA-6E5C-BD06949C2069}"/>
    <pc:docChg chg="mod modSld">
      <pc:chgData name="Beck, Katherine" userId="S::katherine.beck@tea.texas.gov::e1e04e99-76be-457d-a1b4-1c90ae9d9561" providerId="AD" clId="Web-{C33824AB-6906-93DA-6E5C-BD06949C2069}" dt="2023-08-18T21:36:44.770" v="19"/>
      <pc:docMkLst>
        <pc:docMk/>
      </pc:docMkLst>
      <pc:sldChg chg="modSp modCm">
        <pc:chgData name="Beck, Katherine" userId="S::katherine.beck@tea.texas.gov::e1e04e99-76be-457d-a1b4-1c90ae9d9561" providerId="AD" clId="Web-{C33824AB-6906-93DA-6E5C-BD06949C2069}" dt="2023-08-18T21:34:39.578" v="13" actId="20577"/>
        <pc:sldMkLst>
          <pc:docMk/>
          <pc:sldMk cId="3567529358" sldId="273"/>
        </pc:sldMkLst>
        <pc:spChg chg="mod">
          <ac:chgData name="Beck, Katherine" userId="S::katherine.beck@tea.texas.gov::e1e04e99-76be-457d-a1b4-1c90ae9d9561" providerId="AD" clId="Web-{C33824AB-6906-93DA-6E5C-BD06949C2069}" dt="2023-08-18T21:34:39.578" v="13" actId="20577"/>
          <ac:spMkLst>
            <pc:docMk/>
            <pc:sldMk cId="3567529358" sldId="273"/>
            <ac:spMk id="2" creationId="{FD03A14E-0327-76B4-4D43-018EAFE80796}"/>
          </ac:spMkLst>
        </pc:spChg>
      </pc:sldChg>
      <pc:sldChg chg="addSp delSp">
        <pc:chgData name="Beck, Katherine" userId="S::katherine.beck@tea.texas.gov::e1e04e99-76be-457d-a1b4-1c90ae9d9561" providerId="AD" clId="Web-{C33824AB-6906-93DA-6E5C-BD06949C2069}" dt="2023-08-18T21:36:44.770" v="19"/>
        <pc:sldMkLst>
          <pc:docMk/>
          <pc:sldMk cId="349678021" sldId="295"/>
        </pc:sldMkLst>
        <pc:spChg chg="add del">
          <ac:chgData name="Beck, Katherine" userId="S::katherine.beck@tea.texas.gov::e1e04e99-76be-457d-a1b4-1c90ae9d9561" providerId="AD" clId="Web-{C33824AB-6906-93DA-6E5C-BD06949C2069}" dt="2023-08-18T21:36:34.942" v="15"/>
          <ac:spMkLst>
            <pc:docMk/>
            <pc:sldMk cId="349678021" sldId="295"/>
            <ac:spMk id="4" creationId="{34028033-A41C-C362-505D-0CCFDE53566F}"/>
          </ac:spMkLst>
        </pc:spChg>
        <pc:spChg chg="add del">
          <ac:chgData name="Beck, Katherine" userId="S::katherine.beck@tea.texas.gov::e1e04e99-76be-457d-a1b4-1c90ae9d9561" providerId="AD" clId="Web-{C33824AB-6906-93DA-6E5C-BD06949C2069}" dt="2023-08-18T21:36:39.129" v="17"/>
          <ac:spMkLst>
            <pc:docMk/>
            <pc:sldMk cId="349678021" sldId="295"/>
            <ac:spMk id="5" creationId="{34028033-A41C-C362-505D-0CCFDE53566F}"/>
          </ac:spMkLst>
        </pc:spChg>
        <pc:spChg chg="add del">
          <ac:chgData name="Beck, Katherine" userId="S::katherine.beck@tea.texas.gov::e1e04e99-76be-457d-a1b4-1c90ae9d9561" providerId="AD" clId="Web-{C33824AB-6906-93DA-6E5C-BD06949C2069}" dt="2023-08-18T21:36:44.770" v="19"/>
          <ac:spMkLst>
            <pc:docMk/>
            <pc:sldMk cId="349678021" sldId="295"/>
            <ac:spMk id="6" creationId="{34028033-A41C-C362-505D-0CCFDE53566F}"/>
          </ac:spMkLst>
        </pc:spChg>
      </pc:sldChg>
    </pc:docChg>
  </pc:docChgLst>
  <pc:docChgLst>
    <pc:chgData name="Tian, Iris" userId="3a26a5fd-4e1b-43a0-894e-6aa7fc051075" providerId="ADAL" clId="{769D2C2D-E2EF-43C6-8651-D17697EBFD1B}"/>
    <pc:docChg chg="undo custSel addSld delSld modSld sldOrd replTag">
      <pc:chgData name="Tian, Iris" userId="3a26a5fd-4e1b-43a0-894e-6aa7fc051075" providerId="ADAL" clId="{769D2C2D-E2EF-43C6-8651-D17697EBFD1B}" dt="2023-08-24T18:53:22.312" v="5646" actId="13926"/>
      <pc:docMkLst>
        <pc:docMk/>
      </pc:docMkLst>
      <pc:sldChg chg="addSp delSp modSp mod delCm modCm">
        <pc:chgData name="Tian, Iris" userId="3a26a5fd-4e1b-43a0-894e-6aa7fc051075" providerId="ADAL" clId="{769D2C2D-E2EF-43C6-8651-D17697EBFD1B}" dt="2023-08-24T18:23:30.278" v="5335" actId="20577"/>
        <pc:sldMkLst>
          <pc:docMk/>
          <pc:sldMk cId="4130700174" sldId="256"/>
        </pc:sldMkLst>
        <pc:spChg chg="add mod">
          <ac:chgData name="Tian, Iris" userId="3a26a5fd-4e1b-43a0-894e-6aa7fc051075" providerId="ADAL" clId="{769D2C2D-E2EF-43C6-8651-D17697EBFD1B}" dt="2023-08-24T18:23:30.278" v="5335" actId="20577"/>
          <ac:spMkLst>
            <pc:docMk/>
            <pc:sldMk cId="4130700174" sldId="256"/>
            <ac:spMk id="2" creationId="{C85E9E2E-21CC-63F9-8625-438506B5E8D6}"/>
          </ac:spMkLst>
        </pc:spChg>
        <pc:spChg chg="mod">
          <ac:chgData name="Tian, Iris" userId="3a26a5fd-4e1b-43a0-894e-6aa7fc051075" providerId="ADAL" clId="{769D2C2D-E2EF-43C6-8651-D17697EBFD1B}" dt="2023-07-27T17:34:44.973" v="225" actId="948"/>
          <ac:spMkLst>
            <pc:docMk/>
            <pc:sldMk cId="4130700174" sldId="256"/>
            <ac:spMk id="3" creationId="{3CF49749-BDB5-1AAE-E301-025BD2578DE5}"/>
          </ac:spMkLst>
        </pc:spChg>
        <pc:spChg chg="add del mod modVis">
          <ac:chgData name="Tian, Iris" userId="3a26a5fd-4e1b-43a0-894e-6aa7fc051075" providerId="ADAL" clId="{769D2C2D-E2EF-43C6-8651-D17697EBFD1B}" dt="2023-07-27T17:34:33.552" v="115"/>
          <ac:spMkLst>
            <pc:docMk/>
            <pc:sldMk cId="4130700174" sldId="256"/>
            <ac:spMk id="8" creationId="{E90C9D72-1252-F14A-18FD-ADAA7150F04C}"/>
          </ac:spMkLst>
        </pc:spChg>
        <pc:spChg chg="add del mod modVis">
          <ac:chgData name="Tian, Iris" userId="3a26a5fd-4e1b-43a0-894e-6aa7fc051075" providerId="ADAL" clId="{769D2C2D-E2EF-43C6-8651-D17697EBFD1B}" dt="2023-07-27T17:34:35.687" v="220"/>
          <ac:spMkLst>
            <pc:docMk/>
            <pc:sldMk cId="4130700174" sldId="256"/>
            <ac:spMk id="9" creationId="{8F960F5C-6609-97BB-7CB2-4504D4D67831}"/>
          </ac:spMkLst>
        </pc:spChg>
        <pc:spChg chg="add del mod modVis">
          <ac:chgData name="Tian, Iris" userId="3a26a5fd-4e1b-43a0-894e-6aa7fc051075" providerId="ADAL" clId="{769D2C2D-E2EF-43C6-8651-D17697EBFD1B}" dt="2023-07-27T17:34:45.253" v="326"/>
          <ac:spMkLst>
            <pc:docMk/>
            <pc:sldMk cId="4130700174" sldId="256"/>
            <ac:spMk id="10" creationId="{906F4DFB-125C-15F7-9296-DC96C2E2B92E}"/>
          </ac:spMkLst>
        </pc:spChg>
        <pc:graphicFrameChg chg="mod">
          <ac:chgData name="Tian, Iris" userId="3a26a5fd-4e1b-43a0-894e-6aa7fc051075" providerId="ADAL" clId="{769D2C2D-E2EF-43C6-8651-D17697EBFD1B}" dt="2023-07-27T17:34:45.258" v="328"/>
          <ac:graphicFrameMkLst>
            <pc:docMk/>
            <pc:sldMk cId="4130700174" sldId="256"/>
            <ac:graphicFrameMk id="4" creationId="{10E51EBF-5DAE-783B-09C1-AC22DE88D8A8}"/>
          </ac:graphicFrameMkLst>
        </pc:graphicFrameChg>
      </pc:sldChg>
      <pc:sldChg chg="addSp delSp modSp mod addCm delCm modCm">
        <pc:chgData name="Tian, Iris" userId="3a26a5fd-4e1b-43a0-894e-6aa7fc051075" providerId="ADAL" clId="{769D2C2D-E2EF-43C6-8651-D17697EBFD1B}" dt="2023-08-24T18:13:07.216" v="4654"/>
        <pc:sldMkLst>
          <pc:docMk/>
          <pc:sldMk cId="3567529358" sldId="273"/>
        </pc:sldMkLst>
        <pc:spChg chg="mod">
          <ac:chgData name="Tian, Iris" userId="3a26a5fd-4e1b-43a0-894e-6aa7fc051075" providerId="ADAL" clId="{769D2C2D-E2EF-43C6-8651-D17697EBFD1B}" dt="2023-07-27T17:55:29.680" v="3848" actId="6549"/>
          <ac:spMkLst>
            <pc:docMk/>
            <pc:sldMk cId="3567529358" sldId="273"/>
            <ac:spMk id="2" creationId="{FD03A14E-0327-76B4-4D43-018EAFE80796}"/>
          </ac:spMkLst>
        </pc:spChg>
        <pc:spChg chg="add del mod modVis">
          <ac:chgData name="Tian, Iris" userId="3a26a5fd-4e1b-43a0-894e-6aa7fc051075" providerId="ADAL" clId="{769D2C2D-E2EF-43C6-8651-D17697EBFD1B}" dt="2023-07-27T17:36:33.732" v="635" actId="962"/>
          <ac:spMkLst>
            <pc:docMk/>
            <pc:sldMk cId="3567529358" sldId="273"/>
            <ac:spMk id="3" creationId="{511174B1-97D3-68D6-B8B0-717DB005D0B0}"/>
          </ac:spMkLst>
        </pc:spChg>
        <pc:spChg chg="add mod">
          <ac:chgData name="Tian, Iris" userId="3a26a5fd-4e1b-43a0-894e-6aa7fc051075" providerId="ADAL" clId="{769D2C2D-E2EF-43C6-8651-D17697EBFD1B}" dt="2023-08-24T18:13:04.117" v="4653" actId="20577"/>
          <ac:spMkLst>
            <pc:docMk/>
            <pc:sldMk cId="3567529358" sldId="273"/>
            <ac:spMk id="3" creationId="{F39B80D3-8D68-2425-B422-1C4BD677DBD0}"/>
          </ac:spMkLst>
        </pc:spChg>
        <pc:spChg chg="mod">
          <ac:chgData name="Tian, Iris" userId="3a26a5fd-4e1b-43a0-894e-6aa7fc051075" providerId="ADAL" clId="{769D2C2D-E2EF-43C6-8651-D17697EBFD1B}" dt="2023-07-27T17:57:34.114" v="3900" actId="6549"/>
          <ac:spMkLst>
            <pc:docMk/>
            <pc:sldMk cId="3567529358" sldId="273"/>
            <ac:spMk id="4" creationId="{A6A4BA1F-9B5D-31C3-658C-C99E2CC564D2}"/>
          </ac:spMkLst>
        </pc:spChg>
        <pc:spChg chg="add del mod modVis">
          <ac:chgData name="Tian, Iris" userId="3a26a5fd-4e1b-43a0-894e-6aa7fc051075" providerId="ADAL" clId="{769D2C2D-E2EF-43C6-8651-D17697EBFD1B}" dt="2023-07-27T17:36:32.956" v="554" actId="962"/>
          <ac:spMkLst>
            <pc:docMk/>
            <pc:sldMk cId="3567529358" sldId="273"/>
            <ac:spMk id="6" creationId="{EA912B60-2D95-2060-9658-DEF5ED48AA88}"/>
          </ac:spMkLst>
        </pc:spChg>
        <pc:spChg chg="add del mod modVis">
          <ac:chgData name="Tian, Iris" userId="3a26a5fd-4e1b-43a0-894e-6aa7fc051075" providerId="ADAL" clId="{769D2C2D-E2EF-43C6-8651-D17697EBFD1B}" dt="2023-07-27T17:55:28.564" v="3686"/>
          <ac:spMkLst>
            <pc:docMk/>
            <pc:sldMk cId="3567529358" sldId="273"/>
            <ac:spMk id="7" creationId="{1301B919-D051-C68B-2269-A88E3D1C32CF}"/>
          </ac:spMkLst>
        </pc:spChg>
        <pc:spChg chg="add del mod modVis">
          <ac:chgData name="Tian, Iris" userId="3a26a5fd-4e1b-43a0-894e-6aa7fc051075" providerId="ADAL" clId="{769D2C2D-E2EF-43C6-8651-D17697EBFD1B}" dt="2023-07-27T17:55:29.676" v="3846" actId="962"/>
          <ac:spMkLst>
            <pc:docMk/>
            <pc:sldMk cId="3567529358" sldId="273"/>
            <ac:spMk id="9" creationId="{74F426B5-3B9F-6643-0D89-93E7E9709AF6}"/>
          </ac:spMkLst>
        </pc:spChg>
        <pc:graphicFrameChg chg="add mod ord modVis replST delST">
          <ac:chgData name="Tian, Iris" userId="3a26a5fd-4e1b-43a0-894e-6aa7fc051075" providerId="ADAL" clId="{769D2C2D-E2EF-43C6-8651-D17697EBFD1B}" dt="2023-07-27T17:36:33.635" v="567" actId="14100"/>
          <ac:graphicFrameMkLst>
            <pc:docMk/>
            <pc:sldMk cId="3567529358" sldId="273"/>
            <ac:graphicFrameMk id="5" creationId="{26B43FC4-8A8A-361C-2C46-850C4C92C346}"/>
          </ac:graphicFrameMkLst>
        </pc:graphicFrameChg>
        <pc:graphicFrameChg chg="add mod ord modVis replST">
          <ac:chgData name="Tian, Iris" userId="3a26a5fd-4e1b-43a0-894e-6aa7fc051075" providerId="ADAL" clId="{769D2C2D-E2EF-43C6-8651-D17697EBFD1B}" dt="2023-07-27T17:55:29.698" v="3850"/>
          <ac:graphicFrameMkLst>
            <pc:docMk/>
            <pc:sldMk cId="3567529358" sldId="273"/>
            <ac:graphicFrameMk id="8" creationId="{D5B568EE-CAA7-5CC4-419F-42BD36582B1C}"/>
          </ac:graphicFrameMkLst>
        </pc:graphicFrameChg>
      </pc:sldChg>
      <pc:sldChg chg="addSp delSp modSp mod">
        <pc:chgData name="Tian, Iris" userId="3a26a5fd-4e1b-43a0-894e-6aa7fc051075" providerId="ADAL" clId="{769D2C2D-E2EF-43C6-8651-D17697EBFD1B}" dt="2023-07-27T17:57:45.346" v="3901" actId="6549"/>
        <pc:sldMkLst>
          <pc:docMk/>
          <pc:sldMk cId="12948560" sldId="275"/>
        </pc:sldMkLst>
        <pc:spChg chg="mod">
          <ac:chgData name="Tian, Iris" userId="3a26a5fd-4e1b-43a0-894e-6aa7fc051075" providerId="ADAL" clId="{769D2C2D-E2EF-43C6-8651-D17697EBFD1B}" dt="2023-07-27T17:38:13.080" v="847" actId="948"/>
          <ac:spMkLst>
            <pc:docMk/>
            <pc:sldMk cId="12948560" sldId="275"/>
            <ac:spMk id="2" creationId="{FD03A14E-0327-76B4-4D43-018EAFE80796}"/>
          </ac:spMkLst>
        </pc:spChg>
        <pc:spChg chg="mod">
          <ac:chgData name="Tian, Iris" userId="3a26a5fd-4e1b-43a0-894e-6aa7fc051075" providerId="ADAL" clId="{769D2C2D-E2EF-43C6-8651-D17697EBFD1B}" dt="2023-07-27T17:57:45.346" v="3901" actId="6549"/>
          <ac:spMkLst>
            <pc:docMk/>
            <pc:sldMk cId="12948560" sldId="275"/>
            <ac:spMk id="4" creationId="{A6A4BA1F-9B5D-31C3-658C-C99E2CC564D2}"/>
          </ac:spMkLst>
        </pc:spChg>
        <pc:spChg chg="add del mod modVis">
          <ac:chgData name="Tian, Iris" userId="3a26a5fd-4e1b-43a0-894e-6aa7fc051075" providerId="ADAL" clId="{769D2C2D-E2EF-43C6-8651-D17697EBFD1B}" dt="2023-07-27T17:37:52.297" v="685"/>
          <ac:spMkLst>
            <pc:docMk/>
            <pc:sldMk cId="12948560" sldId="275"/>
            <ac:spMk id="6" creationId="{00FD4444-A71C-7489-884D-216D271658A1}"/>
          </ac:spMkLst>
        </pc:spChg>
        <pc:spChg chg="add del mod modVis">
          <ac:chgData name="Tian, Iris" userId="3a26a5fd-4e1b-43a0-894e-6aa7fc051075" providerId="ADAL" clId="{769D2C2D-E2EF-43C6-8651-D17697EBFD1B}" dt="2023-07-27T17:38:06.545" v="744"/>
          <ac:spMkLst>
            <pc:docMk/>
            <pc:sldMk cId="12948560" sldId="275"/>
            <ac:spMk id="8" creationId="{6AFE54C6-FB48-B66F-C30C-4E67E79EA6D2}"/>
          </ac:spMkLst>
        </pc:spChg>
        <pc:spChg chg="add del mod modVis">
          <ac:chgData name="Tian, Iris" userId="3a26a5fd-4e1b-43a0-894e-6aa7fc051075" providerId="ADAL" clId="{769D2C2D-E2EF-43C6-8651-D17697EBFD1B}" dt="2023-07-27T17:38:09.073" v="792"/>
          <ac:spMkLst>
            <pc:docMk/>
            <pc:sldMk cId="12948560" sldId="275"/>
            <ac:spMk id="17" creationId="{8438AF7B-E021-BE36-1FAD-7D6C45D54EEB}"/>
          </ac:spMkLst>
        </pc:spChg>
        <pc:spChg chg="add del mod modVis">
          <ac:chgData name="Tian, Iris" userId="3a26a5fd-4e1b-43a0-894e-6aa7fc051075" providerId="ADAL" clId="{769D2C2D-E2EF-43C6-8651-D17697EBFD1B}" dt="2023-07-27T17:38:10.284" v="840"/>
          <ac:spMkLst>
            <pc:docMk/>
            <pc:sldMk cId="12948560" sldId="275"/>
            <ac:spMk id="18" creationId="{AF351481-183D-2EDA-80CE-C24D0CAE9781}"/>
          </ac:spMkLst>
        </pc:spChg>
        <pc:spChg chg="add del mod modVis">
          <ac:chgData name="Tian, Iris" userId="3a26a5fd-4e1b-43a0-894e-6aa7fc051075" providerId="ADAL" clId="{769D2C2D-E2EF-43C6-8651-D17697EBFD1B}" dt="2023-07-27T17:38:13.187" v="888"/>
          <ac:spMkLst>
            <pc:docMk/>
            <pc:sldMk cId="12948560" sldId="275"/>
            <ac:spMk id="21" creationId="{1747535C-53C4-8ED3-681F-8DBCDBB7B12D}"/>
          </ac:spMkLst>
        </pc:spChg>
        <pc:graphicFrameChg chg="add mod ord modVis replST">
          <ac:chgData name="Tian, Iris" userId="3a26a5fd-4e1b-43a0-894e-6aa7fc051075" providerId="ADAL" clId="{769D2C2D-E2EF-43C6-8651-D17697EBFD1B}" dt="2023-07-27T17:38:13.192" v="890"/>
          <ac:graphicFrameMkLst>
            <pc:docMk/>
            <pc:sldMk cId="12948560" sldId="275"/>
            <ac:graphicFrameMk id="7" creationId="{9FD626F6-6387-E989-2B71-61251D2D7E0C}"/>
          </ac:graphicFrameMkLst>
        </pc:graphicFrameChg>
      </pc:sldChg>
      <pc:sldChg chg="addSp delSp modSp mod ord">
        <pc:chgData name="Tian, Iris" userId="3a26a5fd-4e1b-43a0-894e-6aa7fc051075" providerId="ADAL" clId="{769D2C2D-E2EF-43C6-8651-D17697EBFD1B}" dt="2023-07-27T17:51:40.814" v="3611"/>
        <pc:sldMkLst>
          <pc:docMk/>
          <pc:sldMk cId="278984543" sldId="276"/>
        </pc:sldMkLst>
        <pc:spChg chg="mod">
          <ac:chgData name="Tian, Iris" userId="3a26a5fd-4e1b-43a0-894e-6aa7fc051075" providerId="ADAL" clId="{769D2C2D-E2EF-43C6-8651-D17697EBFD1B}" dt="2023-07-27T17:42:42.503" v="2264" actId="948"/>
          <ac:spMkLst>
            <pc:docMk/>
            <pc:sldMk cId="278984543" sldId="276"/>
            <ac:spMk id="2" creationId="{FD03A14E-0327-76B4-4D43-018EAFE80796}"/>
          </ac:spMkLst>
        </pc:spChg>
        <pc:spChg chg="add del mod modVis">
          <ac:chgData name="Tian, Iris" userId="3a26a5fd-4e1b-43a0-894e-6aa7fc051075" providerId="ADAL" clId="{769D2C2D-E2EF-43C6-8651-D17697EBFD1B}" dt="2023-07-27T17:42:27.181" v="2045"/>
          <ac:spMkLst>
            <pc:docMk/>
            <pc:sldMk cId="278984543" sldId="276"/>
            <ac:spMk id="3" creationId="{5174B2E3-C8C8-1AA8-5CD8-08FBECFF5094}"/>
          </ac:spMkLst>
        </pc:spChg>
        <pc:spChg chg="add del mod modVis">
          <ac:chgData name="Tian, Iris" userId="3a26a5fd-4e1b-43a0-894e-6aa7fc051075" providerId="ADAL" clId="{769D2C2D-E2EF-43C6-8651-D17697EBFD1B}" dt="2023-07-27T17:42:30.278" v="2104"/>
          <ac:spMkLst>
            <pc:docMk/>
            <pc:sldMk cId="278984543" sldId="276"/>
            <ac:spMk id="5" creationId="{1E314C88-A431-1D3C-AF3C-F109B75952A3}"/>
          </ac:spMkLst>
        </pc:spChg>
        <pc:spChg chg="del">
          <ac:chgData name="Tian, Iris" userId="3a26a5fd-4e1b-43a0-894e-6aa7fc051075" providerId="ADAL" clId="{769D2C2D-E2EF-43C6-8651-D17697EBFD1B}" dt="2023-07-27T17:41:05.382" v="1934" actId="478"/>
          <ac:spMkLst>
            <pc:docMk/>
            <pc:sldMk cId="278984543" sldId="276"/>
            <ac:spMk id="7" creationId="{115C1C90-5CBF-8738-8513-3D3A751ACB04}"/>
          </ac:spMkLst>
        </pc:spChg>
        <pc:spChg chg="add del mod modVis">
          <ac:chgData name="Tian, Iris" userId="3a26a5fd-4e1b-43a0-894e-6aa7fc051075" providerId="ADAL" clId="{769D2C2D-E2EF-43C6-8651-D17697EBFD1B}" dt="2023-07-27T17:42:31.066" v="2151"/>
          <ac:spMkLst>
            <pc:docMk/>
            <pc:sldMk cId="278984543" sldId="276"/>
            <ac:spMk id="8" creationId="{0E09D9D4-FDB8-5281-ED26-0D3D5782ECBD}"/>
          </ac:spMkLst>
        </pc:spChg>
        <pc:spChg chg="add del mod modVis">
          <ac:chgData name="Tian, Iris" userId="3a26a5fd-4e1b-43a0-894e-6aa7fc051075" providerId="ADAL" clId="{769D2C2D-E2EF-43C6-8651-D17697EBFD1B}" dt="2023-07-27T17:42:32.310" v="2196"/>
          <ac:spMkLst>
            <pc:docMk/>
            <pc:sldMk cId="278984543" sldId="276"/>
            <ac:spMk id="9" creationId="{97DCC712-4558-74E2-8399-886B1686D0B2}"/>
          </ac:spMkLst>
        </pc:spChg>
        <pc:spChg chg="add del mod modVis">
          <ac:chgData name="Tian, Iris" userId="3a26a5fd-4e1b-43a0-894e-6aa7fc051075" providerId="ADAL" clId="{769D2C2D-E2EF-43C6-8651-D17697EBFD1B}" dt="2023-07-27T17:42:35.185" v="2248"/>
          <ac:spMkLst>
            <pc:docMk/>
            <pc:sldMk cId="278984543" sldId="276"/>
            <ac:spMk id="10" creationId="{520A7E7F-8BCF-3B69-9ADE-91F5ACC3ADF6}"/>
          </ac:spMkLst>
        </pc:spChg>
        <pc:spChg chg="add del mod modVis">
          <ac:chgData name="Tian, Iris" userId="3a26a5fd-4e1b-43a0-894e-6aa7fc051075" providerId="ADAL" clId="{769D2C2D-E2EF-43C6-8651-D17697EBFD1B}" dt="2023-07-27T17:42:42.568" v="2305"/>
          <ac:spMkLst>
            <pc:docMk/>
            <pc:sldMk cId="278984543" sldId="276"/>
            <ac:spMk id="11" creationId="{3FFEBC84-6751-E6A1-9C54-8CCBABD6FAA9}"/>
          </ac:spMkLst>
        </pc:spChg>
        <pc:graphicFrameChg chg="add mod ord modVis replST">
          <ac:chgData name="Tian, Iris" userId="3a26a5fd-4e1b-43a0-894e-6aa7fc051075" providerId="ADAL" clId="{769D2C2D-E2EF-43C6-8651-D17697EBFD1B}" dt="2023-07-27T17:42:42.571" v="2307"/>
          <ac:graphicFrameMkLst>
            <pc:docMk/>
            <pc:sldMk cId="278984543" sldId="276"/>
            <ac:graphicFrameMk id="4" creationId="{74C1A67C-4979-04BE-2581-ACB22A08A8E8}"/>
          </ac:graphicFrameMkLst>
        </pc:graphicFrameChg>
        <pc:graphicFrameChg chg="mod modGraphic">
          <ac:chgData name="Tian, Iris" userId="3a26a5fd-4e1b-43a0-894e-6aa7fc051075" providerId="ADAL" clId="{769D2C2D-E2EF-43C6-8651-D17697EBFD1B}" dt="2023-07-27T17:42:14.521" v="2002"/>
          <ac:graphicFrameMkLst>
            <pc:docMk/>
            <pc:sldMk cId="278984543" sldId="276"/>
            <ac:graphicFrameMk id="6" creationId="{21B5892B-214B-3921-AF1C-489AC63B2F5F}"/>
          </ac:graphicFrameMkLst>
        </pc:graphicFrameChg>
      </pc:sldChg>
      <pc:sldChg chg="addSp modSp add del mod modTransition modShow">
        <pc:chgData name="Tian, Iris" userId="3a26a5fd-4e1b-43a0-894e-6aa7fc051075" providerId="ADAL" clId="{769D2C2D-E2EF-43C6-8651-D17697EBFD1B}" dt="2023-08-24T18:22:49.406" v="5176" actId="47"/>
        <pc:sldMkLst>
          <pc:docMk/>
          <pc:sldMk cId="656837706" sldId="277"/>
        </pc:sldMkLst>
        <pc:spChg chg="add mod">
          <ac:chgData name="Tian, Iris" userId="3a26a5fd-4e1b-43a0-894e-6aa7fc051075" providerId="ADAL" clId="{769D2C2D-E2EF-43C6-8651-D17697EBFD1B}" dt="2023-08-24T18:22:46.549" v="5175" actId="20577"/>
          <ac:spMkLst>
            <pc:docMk/>
            <pc:sldMk cId="656837706" sldId="277"/>
            <ac:spMk id="3" creationId="{31B956D9-72CE-5E9A-DDD8-9B3F88CA8E6E}"/>
          </ac:spMkLst>
        </pc:spChg>
      </pc:sldChg>
      <pc:sldChg chg="addSp modSp del mod ord modTransition modShow addCm">
        <pc:chgData name="Tian, Iris" userId="3a26a5fd-4e1b-43a0-894e-6aa7fc051075" providerId="ADAL" clId="{769D2C2D-E2EF-43C6-8651-D17697EBFD1B}" dt="2023-08-24T18:26:14.129" v="5450" actId="47"/>
        <pc:sldMkLst>
          <pc:docMk/>
          <pc:sldMk cId="180870936" sldId="278"/>
        </pc:sldMkLst>
        <pc:spChg chg="mod">
          <ac:chgData name="Tian, Iris" userId="3a26a5fd-4e1b-43a0-894e-6aa7fc051075" providerId="ADAL" clId="{769D2C2D-E2EF-43C6-8651-D17697EBFD1B}" dt="2023-08-24T18:26:11.301" v="5449" actId="6549"/>
          <ac:spMkLst>
            <pc:docMk/>
            <pc:sldMk cId="180870936" sldId="278"/>
            <ac:spMk id="4" creationId="{A6A4BA1F-9B5D-31C3-658C-C99E2CC564D2}"/>
          </ac:spMkLst>
        </pc:spChg>
        <pc:spChg chg="add mod">
          <ac:chgData name="Tian, Iris" userId="3a26a5fd-4e1b-43a0-894e-6aa7fc051075" providerId="ADAL" clId="{769D2C2D-E2EF-43C6-8651-D17697EBFD1B}" dt="2023-08-24T18:24:49.063" v="5444"/>
          <ac:spMkLst>
            <pc:docMk/>
            <pc:sldMk cId="180870936" sldId="278"/>
            <ac:spMk id="6" creationId="{212ECDC1-DEA3-C7A4-3F7A-2EC36630EAFB}"/>
          </ac:spMkLst>
        </pc:spChg>
      </pc:sldChg>
      <pc:sldChg chg="modSp mod">
        <pc:chgData name="Tian, Iris" userId="3a26a5fd-4e1b-43a0-894e-6aa7fc051075" providerId="ADAL" clId="{769D2C2D-E2EF-43C6-8651-D17697EBFD1B}" dt="2023-08-24T18:22:29.173" v="5141" actId="20577"/>
        <pc:sldMkLst>
          <pc:docMk/>
          <pc:sldMk cId="789181516" sldId="279"/>
        </pc:sldMkLst>
        <pc:spChg chg="mod">
          <ac:chgData name="Tian, Iris" userId="3a26a5fd-4e1b-43a0-894e-6aa7fc051075" providerId="ADAL" clId="{769D2C2D-E2EF-43C6-8651-D17697EBFD1B}" dt="2023-08-24T18:22:16.844" v="5120" actId="6549"/>
          <ac:spMkLst>
            <pc:docMk/>
            <pc:sldMk cId="789181516" sldId="279"/>
            <ac:spMk id="2" creationId="{FD03A14E-0327-76B4-4D43-018EAFE80796}"/>
          </ac:spMkLst>
        </pc:spChg>
        <pc:spChg chg="mod">
          <ac:chgData name="Tian, Iris" userId="3a26a5fd-4e1b-43a0-894e-6aa7fc051075" providerId="ADAL" clId="{769D2C2D-E2EF-43C6-8651-D17697EBFD1B}" dt="2023-08-24T18:22:29.173" v="5141" actId="20577"/>
          <ac:spMkLst>
            <pc:docMk/>
            <pc:sldMk cId="789181516" sldId="279"/>
            <ac:spMk id="8" creationId="{D76CE283-3F43-5B86-6971-A4C6F1483973}"/>
          </ac:spMkLst>
        </pc:spChg>
      </pc:sldChg>
      <pc:sldChg chg="addSp delSp modSp mod ord modTransition modShow addCm delCm modCm">
        <pc:chgData name="Tian, Iris" userId="3a26a5fd-4e1b-43a0-894e-6aa7fc051075" providerId="ADAL" clId="{769D2C2D-E2EF-43C6-8651-D17697EBFD1B}" dt="2023-08-24T18:12:26.811" v="4554" actId="14100"/>
        <pc:sldMkLst>
          <pc:docMk/>
          <pc:sldMk cId="3596081720" sldId="281"/>
        </pc:sldMkLst>
        <pc:spChg chg="mod">
          <ac:chgData name="Tian, Iris" userId="3a26a5fd-4e1b-43a0-894e-6aa7fc051075" providerId="ADAL" clId="{769D2C2D-E2EF-43C6-8651-D17697EBFD1B}" dt="2023-07-27T18:40:29.758" v="4115" actId="948"/>
          <ac:spMkLst>
            <pc:docMk/>
            <pc:sldMk cId="3596081720" sldId="281"/>
            <ac:spMk id="3" creationId="{7CE3F372-A6A6-8D43-F8E6-BFE5CAC6EE0D}"/>
          </ac:spMkLst>
        </pc:spChg>
        <pc:spChg chg="add mod">
          <ac:chgData name="Tian, Iris" userId="3a26a5fd-4e1b-43a0-894e-6aa7fc051075" providerId="ADAL" clId="{769D2C2D-E2EF-43C6-8651-D17697EBFD1B}" dt="2023-07-27T18:00:17.375" v="4112" actId="14100"/>
          <ac:spMkLst>
            <pc:docMk/>
            <pc:sldMk cId="3596081720" sldId="281"/>
            <ac:spMk id="6" creationId="{B1A29C16-9CA7-E5BB-7D01-F6547F580F42}"/>
          </ac:spMkLst>
        </pc:spChg>
        <pc:spChg chg="add del mod modVis">
          <ac:chgData name="Tian, Iris" userId="3a26a5fd-4e1b-43a0-894e-6aa7fc051075" providerId="ADAL" clId="{769D2C2D-E2EF-43C6-8651-D17697EBFD1B}" dt="2023-07-27T18:40:29.878" v="4156"/>
          <ac:spMkLst>
            <pc:docMk/>
            <pc:sldMk cId="3596081720" sldId="281"/>
            <ac:spMk id="11" creationId="{4D4D66CF-E6C6-A58A-B50D-A5A5A3F28B1C}"/>
          </ac:spMkLst>
        </pc:spChg>
        <pc:spChg chg="add mod">
          <ac:chgData name="Tian, Iris" userId="3a26a5fd-4e1b-43a0-894e-6aa7fc051075" providerId="ADAL" clId="{769D2C2D-E2EF-43C6-8651-D17697EBFD1B}" dt="2023-08-24T18:12:26.811" v="4554" actId="14100"/>
          <ac:spMkLst>
            <pc:docMk/>
            <pc:sldMk cId="3596081720" sldId="281"/>
            <ac:spMk id="11" creationId="{F08E4A09-3E43-6F0B-CB56-727F2DF03139}"/>
          </ac:spMkLst>
        </pc:spChg>
        <pc:graphicFrameChg chg="add mod ord modVis replST">
          <ac:chgData name="Tian, Iris" userId="3a26a5fd-4e1b-43a0-894e-6aa7fc051075" providerId="ADAL" clId="{769D2C2D-E2EF-43C6-8651-D17697EBFD1B}" dt="2023-07-27T18:40:29.970" v="4172"/>
          <ac:graphicFrameMkLst>
            <pc:docMk/>
            <pc:sldMk cId="3596081720" sldId="281"/>
            <ac:graphicFrameMk id="12" creationId="{A5925A1D-EB25-0B5E-55C8-E57D07E1A6B8}"/>
          </ac:graphicFrameMkLst>
        </pc:graphicFrameChg>
      </pc:sldChg>
      <pc:sldChg chg="modSp mod">
        <pc:chgData name="Tian, Iris" userId="3a26a5fd-4e1b-43a0-894e-6aa7fc051075" providerId="ADAL" clId="{769D2C2D-E2EF-43C6-8651-D17697EBFD1B}" dt="2023-07-27T17:43:58.336" v="2320" actId="20577"/>
        <pc:sldMkLst>
          <pc:docMk/>
          <pc:sldMk cId="3228836762" sldId="282"/>
        </pc:sldMkLst>
        <pc:spChg chg="mod">
          <ac:chgData name="Tian, Iris" userId="3a26a5fd-4e1b-43a0-894e-6aa7fc051075" providerId="ADAL" clId="{769D2C2D-E2EF-43C6-8651-D17697EBFD1B}" dt="2023-07-27T17:43:58.336" v="2320" actId="20577"/>
          <ac:spMkLst>
            <pc:docMk/>
            <pc:sldMk cId="3228836762" sldId="282"/>
            <ac:spMk id="4" creationId="{A6A4BA1F-9B5D-31C3-658C-C99E2CC564D2}"/>
          </ac:spMkLst>
        </pc:spChg>
      </pc:sldChg>
      <pc:sldChg chg="addSp delSp modSp mod addCm delCm modCm">
        <pc:chgData name="Tian, Iris" userId="3a26a5fd-4e1b-43a0-894e-6aa7fc051075" providerId="ADAL" clId="{769D2C2D-E2EF-43C6-8651-D17697EBFD1B}" dt="2023-08-24T18:13:59.307" v="4742" actId="14100"/>
        <pc:sldMkLst>
          <pc:docMk/>
          <pc:sldMk cId="3900297308" sldId="285"/>
        </pc:sldMkLst>
        <pc:spChg chg="add del mod modVis">
          <ac:chgData name="Tian, Iris" userId="3a26a5fd-4e1b-43a0-894e-6aa7fc051075" providerId="ADAL" clId="{769D2C2D-E2EF-43C6-8651-D17697EBFD1B}" dt="2023-07-27T17:49:46.289" v="3483"/>
          <ac:spMkLst>
            <pc:docMk/>
            <pc:sldMk cId="3900297308" sldId="285"/>
            <ac:spMk id="2" creationId="{1F4EA4CB-1E4D-3E70-7201-99AC34F65486}"/>
          </ac:spMkLst>
        </pc:spChg>
        <pc:spChg chg="add mod">
          <ac:chgData name="Tian, Iris" userId="3a26a5fd-4e1b-43a0-894e-6aa7fc051075" providerId="ADAL" clId="{769D2C2D-E2EF-43C6-8651-D17697EBFD1B}" dt="2023-08-24T18:13:59.307" v="4742" actId="14100"/>
          <ac:spMkLst>
            <pc:docMk/>
            <pc:sldMk cId="3900297308" sldId="285"/>
            <ac:spMk id="2" creationId="{7898DDC9-8123-D56D-8C46-9FA1E76CD56B}"/>
          </ac:spMkLst>
        </pc:spChg>
        <pc:spChg chg="mod">
          <ac:chgData name="Tian, Iris" userId="3a26a5fd-4e1b-43a0-894e-6aa7fc051075" providerId="ADAL" clId="{769D2C2D-E2EF-43C6-8651-D17697EBFD1B}" dt="2023-07-27T17:49:46.171" v="3427" actId="948"/>
          <ac:spMkLst>
            <pc:docMk/>
            <pc:sldMk cId="3900297308" sldId="285"/>
            <ac:spMk id="4" creationId="{3EDA7009-2BC5-08CF-9E0E-3AAC17A15DB1}"/>
          </ac:spMkLst>
        </pc:spChg>
        <pc:graphicFrameChg chg="add mod ord modVis replST">
          <ac:chgData name="Tian, Iris" userId="3a26a5fd-4e1b-43a0-894e-6aa7fc051075" providerId="ADAL" clId="{769D2C2D-E2EF-43C6-8651-D17697EBFD1B}" dt="2023-07-27T17:49:46.359" v="3499"/>
          <ac:graphicFrameMkLst>
            <pc:docMk/>
            <pc:sldMk cId="3900297308" sldId="285"/>
            <ac:graphicFrameMk id="3" creationId="{18FC597A-BD61-0C4A-9DFB-B0783ED0E969}"/>
          </ac:graphicFrameMkLst>
        </pc:graphicFrameChg>
      </pc:sldChg>
      <pc:sldChg chg="addSp modSp mod addCm delCm">
        <pc:chgData name="Tian, Iris" userId="3a26a5fd-4e1b-43a0-894e-6aa7fc051075" providerId="ADAL" clId="{769D2C2D-E2EF-43C6-8651-D17697EBFD1B}" dt="2023-08-24T18:53:22.312" v="5646" actId="13926"/>
        <pc:sldMkLst>
          <pc:docMk/>
          <pc:sldMk cId="3610694678" sldId="287"/>
        </pc:sldMkLst>
        <pc:spChg chg="add mod">
          <ac:chgData name="Tian, Iris" userId="3a26a5fd-4e1b-43a0-894e-6aa7fc051075" providerId="ADAL" clId="{769D2C2D-E2EF-43C6-8651-D17697EBFD1B}" dt="2023-08-24T18:10:58.527" v="4312" actId="207"/>
          <ac:spMkLst>
            <pc:docMk/>
            <pc:sldMk cId="3610694678" sldId="287"/>
            <ac:spMk id="2" creationId="{D94EF355-C92E-499B-54F3-D757995CC361}"/>
          </ac:spMkLst>
        </pc:spChg>
        <pc:spChg chg="mod">
          <ac:chgData name="Tian, Iris" userId="3a26a5fd-4e1b-43a0-894e-6aa7fc051075" providerId="ADAL" clId="{769D2C2D-E2EF-43C6-8651-D17697EBFD1B}" dt="2023-08-24T18:09:23.701" v="4203" actId="114"/>
          <ac:spMkLst>
            <pc:docMk/>
            <pc:sldMk cId="3610694678" sldId="287"/>
            <ac:spMk id="4" creationId="{C1A00173-746E-E74D-DC09-144CA7BD8361}"/>
          </ac:spMkLst>
        </pc:spChg>
        <pc:spChg chg="mod">
          <ac:chgData name="Tian, Iris" userId="3a26a5fd-4e1b-43a0-894e-6aa7fc051075" providerId="ADAL" clId="{769D2C2D-E2EF-43C6-8651-D17697EBFD1B}" dt="2023-08-24T18:53:22.312" v="5646" actId="13926"/>
          <ac:spMkLst>
            <pc:docMk/>
            <pc:sldMk cId="3610694678" sldId="287"/>
            <ac:spMk id="5" creationId="{C0E20AB8-2AB7-6434-A76D-765E3C1F0259}"/>
          </ac:spMkLst>
        </pc:spChg>
      </pc:sldChg>
      <pc:sldChg chg="addSp delSp modSp add mod ord addCm delCm">
        <pc:chgData name="Tian, Iris" userId="3a26a5fd-4e1b-43a0-894e-6aa7fc051075" providerId="ADAL" clId="{769D2C2D-E2EF-43C6-8651-D17697EBFD1B}" dt="2023-08-24T18:23:46.907" v="5336" actId="14100"/>
        <pc:sldMkLst>
          <pc:docMk/>
          <pc:sldMk cId="2972119361" sldId="288"/>
        </pc:sldMkLst>
        <pc:spChg chg="add del mod modVis">
          <ac:chgData name="Tian, Iris" userId="3a26a5fd-4e1b-43a0-894e-6aa7fc051075" providerId="ADAL" clId="{769D2C2D-E2EF-43C6-8651-D17697EBFD1B}" dt="2023-07-27T17:39:08.874" v="975"/>
          <ac:spMkLst>
            <pc:docMk/>
            <pc:sldMk cId="2972119361" sldId="288"/>
            <ac:spMk id="2" creationId="{C9CA4DE7-FEFE-8B69-A6CC-79E54BA40325}"/>
          </ac:spMkLst>
        </pc:spChg>
        <pc:spChg chg="add mod">
          <ac:chgData name="Tian, Iris" userId="3a26a5fd-4e1b-43a0-894e-6aa7fc051075" providerId="ADAL" clId="{769D2C2D-E2EF-43C6-8651-D17697EBFD1B}" dt="2023-08-24T18:23:46.907" v="5336" actId="14100"/>
          <ac:spMkLst>
            <pc:docMk/>
            <pc:sldMk cId="2972119361" sldId="288"/>
            <ac:spMk id="2" creationId="{D9CE9EED-D424-681F-4788-3F6E967BF8B6}"/>
          </ac:spMkLst>
        </pc:spChg>
        <pc:spChg chg="mod">
          <ac:chgData name="Tian, Iris" userId="3a26a5fd-4e1b-43a0-894e-6aa7fc051075" providerId="ADAL" clId="{769D2C2D-E2EF-43C6-8651-D17697EBFD1B}" dt="2023-07-27T17:39:44.107" v="1808" actId="948"/>
          <ac:spMkLst>
            <pc:docMk/>
            <pc:sldMk cId="2972119361" sldId="288"/>
            <ac:spMk id="4" creationId="{3EDA7009-2BC5-08CF-9E0E-3AAC17A15DB1}"/>
          </ac:spMkLst>
        </pc:spChg>
        <pc:spChg chg="add del mod modVis">
          <ac:chgData name="Tian, Iris" userId="3a26a5fd-4e1b-43a0-894e-6aa7fc051075" providerId="ADAL" clId="{769D2C2D-E2EF-43C6-8651-D17697EBFD1B}" dt="2023-07-27T17:39:12.123" v="1065"/>
          <ac:spMkLst>
            <pc:docMk/>
            <pc:sldMk cId="2972119361" sldId="288"/>
            <ac:spMk id="5" creationId="{73F3CC56-83EC-C2D1-66DB-76A47ED38E9E}"/>
          </ac:spMkLst>
        </pc:spChg>
        <pc:spChg chg="add del mod modVis">
          <ac:chgData name="Tian, Iris" userId="3a26a5fd-4e1b-43a0-894e-6aa7fc051075" providerId="ADAL" clId="{769D2C2D-E2EF-43C6-8651-D17697EBFD1B}" dt="2023-07-27T17:39:15.507" v="1137"/>
          <ac:spMkLst>
            <pc:docMk/>
            <pc:sldMk cId="2972119361" sldId="288"/>
            <ac:spMk id="6" creationId="{5789E817-53A6-9E72-16C6-26C4EFED1DE4}"/>
          </ac:spMkLst>
        </pc:spChg>
        <pc:spChg chg="add del mod modVis">
          <ac:chgData name="Tian, Iris" userId="3a26a5fd-4e1b-43a0-894e-6aa7fc051075" providerId="ADAL" clId="{769D2C2D-E2EF-43C6-8651-D17697EBFD1B}" dt="2023-07-27T17:39:18.202" v="1212"/>
          <ac:spMkLst>
            <pc:docMk/>
            <pc:sldMk cId="2972119361" sldId="288"/>
            <ac:spMk id="7" creationId="{57C173AA-3132-4AB0-63B3-F7ABD7202A61}"/>
          </ac:spMkLst>
        </pc:spChg>
        <pc:spChg chg="add del mod modVis">
          <ac:chgData name="Tian, Iris" userId="3a26a5fd-4e1b-43a0-894e-6aa7fc051075" providerId="ADAL" clId="{769D2C2D-E2EF-43C6-8651-D17697EBFD1B}" dt="2023-07-27T17:39:19.136" v="1281"/>
          <ac:spMkLst>
            <pc:docMk/>
            <pc:sldMk cId="2972119361" sldId="288"/>
            <ac:spMk id="8" creationId="{CF7A381A-0E3F-A45E-483C-F7EC824A09F8}"/>
          </ac:spMkLst>
        </pc:spChg>
        <pc:spChg chg="add del mod modVis">
          <ac:chgData name="Tian, Iris" userId="3a26a5fd-4e1b-43a0-894e-6aa7fc051075" providerId="ADAL" clId="{769D2C2D-E2EF-43C6-8651-D17697EBFD1B}" dt="2023-07-27T17:39:21.482" v="1348"/>
          <ac:spMkLst>
            <pc:docMk/>
            <pc:sldMk cId="2972119361" sldId="288"/>
            <ac:spMk id="9" creationId="{9C1E98B6-099D-BE04-37B0-0B21D561830E}"/>
          </ac:spMkLst>
        </pc:spChg>
        <pc:spChg chg="add del mod modVis">
          <ac:chgData name="Tian, Iris" userId="3a26a5fd-4e1b-43a0-894e-6aa7fc051075" providerId="ADAL" clId="{769D2C2D-E2EF-43C6-8651-D17697EBFD1B}" dt="2023-07-27T17:39:25.090" v="1419"/>
          <ac:spMkLst>
            <pc:docMk/>
            <pc:sldMk cId="2972119361" sldId="288"/>
            <ac:spMk id="10" creationId="{31C578AC-2BA6-CE50-AA7B-BEA8AED38ABA}"/>
          </ac:spMkLst>
        </pc:spChg>
        <pc:spChg chg="add del mod modVis">
          <ac:chgData name="Tian, Iris" userId="3a26a5fd-4e1b-43a0-894e-6aa7fc051075" providerId="ADAL" clId="{769D2C2D-E2EF-43C6-8651-D17697EBFD1B}" dt="2023-07-27T17:39:30.938" v="1479"/>
          <ac:spMkLst>
            <pc:docMk/>
            <pc:sldMk cId="2972119361" sldId="288"/>
            <ac:spMk id="11" creationId="{F525BFC0-483D-9E6E-7BAE-3233FAEC3725}"/>
          </ac:spMkLst>
        </pc:spChg>
        <pc:spChg chg="add del mod modVis">
          <ac:chgData name="Tian, Iris" userId="3a26a5fd-4e1b-43a0-894e-6aa7fc051075" providerId="ADAL" clId="{769D2C2D-E2EF-43C6-8651-D17697EBFD1B}" dt="2023-07-27T17:39:32.050" v="1542"/>
          <ac:spMkLst>
            <pc:docMk/>
            <pc:sldMk cId="2972119361" sldId="288"/>
            <ac:spMk id="12" creationId="{638DB46A-742A-D692-AE50-7DB415A8D869}"/>
          </ac:spMkLst>
        </pc:spChg>
        <pc:spChg chg="add del mod modVis">
          <ac:chgData name="Tian, Iris" userId="3a26a5fd-4e1b-43a0-894e-6aa7fc051075" providerId="ADAL" clId="{769D2C2D-E2EF-43C6-8651-D17697EBFD1B}" dt="2023-07-27T17:39:34.624" v="1603"/>
          <ac:spMkLst>
            <pc:docMk/>
            <pc:sldMk cId="2972119361" sldId="288"/>
            <ac:spMk id="13" creationId="{79E160FB-B654-61FA-9B1C-77C9717C33C2}"/>
          </ac:spMkLst>
        </pc:spChg>
        <pc:spChg chg="add del mod modVis">
          <ac:chgData name="Tian, Iris" userId="3a26a5fd-4e1b-43a0-894e-6aa7fc051075" providerId="ADAL" clId="{769D2C2D-E2EF-43C6-8651-D17697EBFD1B}" dt="2023-07-27T17:39:36.892" v="1684"/>
          <ac:spMkLst>
            <pc:docMk/>
            <pc:sldMk cId="2972119361" sldId="288"/>
            <ac:spMk id="14" creationId="{5304273C-5AEA-C615-7B49-F538D936D691}"/>
          </ac:spMkLst>
        </pc:spChg>
        <pc:spChg chg="add del mod modVis">
          <ac:chgData name="Tian, Iris" userId="3a26a5fd-4e1b-43a0-894e-6aa7fc051075" providerId="ADAL" clId="{769D2C2D-E2EF-43C6-8651-D17697EBFD1B}" dt="2023-07-27T17:39:37.604" v="1744"/>
          <ac:spMkLst>
            <pc:docMk/>
            <pc:sldMk cId="2972119361" sldId="288"/>
            <ac:spMk id="15" creationId="{9E54461C-DA3F-F040-E741-B5545E576DF6}"/>
          </ac:spMkLst>
        </pc:spChg>
        <pc:spChg chg="add del mod modVis">
          <ac:chgData name="Tian, Iris" userId="3a26a5fd-4e1b-43a0-894e-6aa7fc051075" providerId="ADAL" clId="{769D2C2D-E2EF-43C6-8651-D17697EBFD1B}" dt="2023-07-27T17:39:40.940" v="1804"/>
          <ac:spMkLst>
            <pc:docMk/>
            <pc:sldMk cId="2972119361" sldId="288"/>
            <ac:spMk id="16" creationId="{5080C0E9-A14B-97AF-11E0-84FB2D850035}"/>
          </ac:spMkLst>
        </pc:spChg>
        <pc:spChg chg="add del mod modVis">
          <ac:chgData name="Tian, Iris" userId="3a26a5fd-4e1b-43a0-894e-6aa7fc051075" providerId="ADAL" clId="{769D2C2D-E2EF-43C6-8651-D17697EBFD1B}" dt="2023-07-27T17:39:44.298" v="1894"/>
          <ac:spMkLst>
            <pc:docMk/>
            <pc:sldMk cId="2972119361" sldId="288"/>
            <ac:spMk id="17" creationId="{30D8B429-D52C-884D-BA20-155B53A76CB4}"/>
          </ac:spMkLst>
        </pc:spChg>
        <pc:graphicFrameChg chg="add mod ord modVis replST">
          <ac:chgData name="Tian, Iris" userId="3a26a5fd-4e1b-43a0-894e-6aa7fc051075" providerId="ADAL" clId="{769D2C2D-E2EF-43C6-8651-D17697EBFD1B}" dt="2023-07-27T17:39:44.303" v="1896"/>
          <ac:graphicFrameMkLst>
            <pc:docMk/>
            <pc:sldMk cId="2972119361" sldId="288"/>
            <ac:graphicFrameMk id="3" creationId="{1ED82015-5D79-41C8-CA99-9CF3E66E60AE}"/>
          </ac:graphicFrameMkLst>
        </pc:graphicFrameChg>
      </pc:sldChg>
      <pc:sldChg chg="addSp delSp modSp add mod ord">
        <pc:chgData name="Tian, Iris" userId="3a26a5fd-4e1b-43a0-894e-6aa7fc051075" providerId="ADAL" clId="{769D2C2D-E2EF-43C6-8651-D17697EBFD1B}" dt="2023-07-27T17:58:55.088" v="3962"/>
        <pc:sldMkLst>
          <pc:docMk/>
          <pc:sldMk cId="2019671329" sldId="289"/>
        </pc:sldMkLst>
        <pc:spChg chg="mod">
          <ac:chgData name="Tian, Iris" userId="3a26a5fd-4e1b-43a0-894e-6aa7fc051075" providerId="ADAL" clId="{769D2C2D-E2EF-43C6-8651-D17697EBFD1B}" dt="2023-07-27T17:58:54.924" v="3905" actId="948"/>
          <ac:spMkLst>
            <pc:docMk/>
            <pc:sldMk cId="2019671329" sldId="289"/>
            <ac:spMk id="2" creationId="{FD03A14E-0327-76B4-4D43-018EAFE80796}"/>
          </ac:spMkLst>
        </pc:spChg>
        <pc:spChg chg="add del mod modVis">
          <ac:chgData name="Tian, Iris" userId="3a26a5fd-4e1b-43a0-894e-6aa7fc051075" providerId="ADAL" clId="{769D2C2D-E2EF-43C6-8651-D17697EBFD1B}" dt="2023-07-27T17:58:55.011" v="3946"/>
          <ac:spMkLst>
            <pc:docMk/>
            <pc:sldMk cId="2019671329" sldId="289"/>
            <ac:spMk id="3" creationId="{6F172175-EC1C-C330-B173-7676202D87B8}"/>
          </ac:spMkLst>
        </pc:spChg>
        <pc:graphicFrameChg chg="add mod ord modVis replST">
          <ac:chgData name="Tian, Iris" userId="3a26a5fd-4e1b-43a0-894e-6aa7fc051075" providerId="ADAL" clId="{769D2C2D-E2EF-43C6-8651-D17697EBFD1B}" dt="2023-07-27T17:58:55.088" v="3962"/>
          <ac:graphicFrameMkLst>
            <pc:docMk/>
            <pc:sldMk cId="2019671329" sldId="289"/>
            <ac:graphicFrameMk id="4" creationId="{7D3EBA90-9E2E-26E0-0A99-1502AB34C3B6}"/>
          </ac:graphicFrameMkLst>
        </pc:graphicFrameChg>
      </pc:sldChg>
      <pc:sldChg chg="new add del">
        <pc:chgData name="Tian, Iris" userId="3a26a5fd-4e1b-43a0-894e-6aa7fc051075" providerId="ADAL" clId="{769D2C2D-E2EF-43C6-8651-D17697EBFD1B}" dt="2023-07-27T17:44:48.157" v="2332" actId="47"/>
        <pc:sldMkLst>
          <pc:docMk/>
          <pc:sldMk cId="897426635" sldId="290"/>
        </pc:sldMkLst>
      </pc:sldChg>
      <pc:sldChg chg="addSp delSp modSp add del mod modTransition modShow">
        <pc:chgData name="Tian, Iris" userId="3a26a5fd-4e1b-43a0-894e-6aa7fc051075" providerId="ADAL" clId="{769D2C2D-E2EF-43C6-8651-D17697EBFD1B}" dt="2023-07-27T17:45:40.886" v="2903" actId="47"/>
        <pc:sldMkLst>
          <pc:docMk/>
          <pc:sldMk cId="925723244" sldId="291"/>
        </pc:sldMkLst>
        <pc:spChg chg="mod">
          <ac:chgData name="Tian, Iris" userId="3a26a5fd-4e1b-43a0-894e-6aa7fc051075" providerId="ADAL" clId="{769D2C2D-E2EF-43C6-8651-D17697EBFD1B}" dt="2023-07-27T17:45:11.637" v="2626" actId="948"/>
          <ac:spMkLst>
            <pc:docMk/>
            <pc:sldMk cId="925723244" sldId="291"/>
            <ac:spMk id="2" creationId="{FD03A14E-0327-76B4-4D43-018EAFE80796}"/>
          </ac:spMkLst>
        </pc:spChg>
        <pc:spChg chg="add del mod modVis">
          <ac:chgData name="Tian, Iris" userId="3a26a5fd-4e1b-43a0-894e-6aa7fc051075" providerId="ADAL" clId="{769D2C2D-E2EF-43C6-8651-D17697EBFD1B}" dt="2023-07-27T17:45:00.945" v="2377"/>
          <ac:spMkLst>
            <pc:docMk/>
            <pc:sldMk cId="925723244" sldId="291"/>
            <ac:spMk id="3" creationId="{EDFD6203-7335-1E07-6761-5860147FE5B0}"/>
          </ac:spMkLst>
        </pc:spChg>
        <pc:spChg chg="add del mod modVis">
          <ac:chgData name="Tian, Iris" userId="3a26a5fd-4e1b-43a0-894e-6aa7fc051075" providerId="ADAL" clId="{769D2C2D-E2EF-43C6-8651-D17697EBFD1B}" dt="2023-07-27T17:45:03.390" v="2439"/>
          <ac:spMkLst>
            <pc:docMk/>
            <pc:sldMk cId="925723244" sldId="291"/>
            <ac:spMk id="7" creationId="{D7F5E4DF-9522-F794-A97E-22EF4A46F296}"/>
          </ac:spMkLst>
        </pc:spChg>
        <pc:spChg chg="add del mod modVis">
          <ac:chgData name="Tian, Iris" userId="3a26a5fd-4e1b-43a0-894e-6aa7fc051075" providerId="ADAL" clId="{769D2C2D-E2EF-43C6-8651-D17697EBFD1B}" dt="2023-07-27T17:45:04.899" v="2484"/>
          <ac:spMkLst>
            <pc:docMk/>
            <pc:sldMk cId="925723244" sldId="291"/>
            <ac:spMk id="9" creationId="{560B8C01-0A18-3AC2-BDB7-59B9DE2C7371}"/>
          </ac:spMkLst>
        </pc:spChg>
        <pc:spChg chg="add del mod modVis">
          <ac:chgData name="Tian, Iris" userId="3a26a5fd-4e1b-43a0-894e-6aa7fc051075" providerId="ADAL" clId="{769D2C2D-E2EF-43C6-8651-D17697EBFD1B}" dt="2023-07-27T17:45:07.443" v="2529"/>
          <ac:spMkLst>
            <pc:docMk/>
            <pc:sldMk cId="925723244" sldId="291"/>
            <ac:spMk id="10" creationId="{D86205F6-E674-0BBC-CE21-84F63948E905}"/>
          </ac:spMkLst>
        </pc:spChg>
        <pc:spChg chg="add del mod modVis">
          <ac:chgData name="Tian, Iris" userId="3a26a5fd-4e1b-43a0-894e-6aa7fc051075" providerId="ADAL" clId="{769D2C2D-E2EF-43C6-8651-D17697EBFD1B}" dt="2023-07-27T17:45:11.122" v="2622"/>
          <ac:spMkLst>
            <pc:docMk/>
            <pc:sldMk cId="925723244" sldId="291"/>
            <ac:spMk id="11" creationId="{E65F3D92-41D5-3446-102E-EF830E8CE5CF}"/>
          </ac:spMkLst>
        </pc:spChg>
        <pc:spChg chg="add del mod modVis">
          <ac:chgData name="Tian, Iris" userId="3a26a5fd-4e1b-43a0-894e-6aa7fc051075" providerId="ADAL" clId="{769D2C2D-E2EF-43C6-8651-D17697EBFD1B}" dt="2023-07-27T17:45:11.755" v="2682"/>
          <ac:spMkLst>
            <pc:docMk/>
            <pc:sldMk cId="925723244" sldId="291"/>
            <ac:spMk id="12" creationId="{FA2E0616-0A15-C296-0AEC-878C23B59CA7}"/>
          </ac:spMkLst>
        </pc:spChg>
        <pc:graphicFrameChg chg="add mod ord modVis replST">
          <ac:chgData name="Tian, Iris" userId="3a26a5fd-4e1b-43a0-894e-6aa7fc051075" providerId="ADAL" clId="{769D2C2D-E2EF-43C6-8651-D17697EBFD1B}" dt="2023-07-27T17:45:11.758" v="2684"/>
          <ac:graphicFrameMkLst>
            <pc:docMk/>
            <pc:sldMk cId="925723244" sldId="291"/>
            <ac:graphicFrameMk id="5" creationId="{FCBFEB9B-B76B-C143-5AEF-FD41C68B370C}"/>
          </ac:graphicFrameMkLst>
        </pc:graphicFrameChg>
      </pc:sldChg>
      <pc:sldChg chg="addSp delSp modSp add mod addCm delCm">
        <pc:chgData name="Tian, Iris" userId="3a26a5fd-4e1b-43a0-894e-6aa7fc051075" providerId="ADAL" clId="{769D2C2D-E2EF-43C6-8651-D17697EBFD1B}" dt="2023-08-24T18:24:36.086" v="5443"/>
        <pc:sldMkLst>
          <pc:docMk/>
          <pc:sldMk cId="1092821132" sldId="292"/>
        </pc:sldMkLst>
        <pc:spChg chg="add mod">
          <ac:chgData name="Tian, Iris" userId="3a26a5fd-4e1b-43a0-894e-6aa7fc051075" providerId="ADAL" clId="{769D2C2D-E2EF-43C6-8651-D17697EBFD1B}" dt="2023-08-24T18:24:32.005" v="5442" actId="20577"/>
          <ac:spMkLst>
            <pc:docMk/>
            <pc:sldMk cId="1092821132" sldId="292"/>
            <ac:spMk id="2" creationId="{3EE6D341-001B-675F-65CE-8AD3A5A6E75D}"/>
          </ac:spMkLst>
        </pc:spChg>
        <pc:spChg chg="add del mod modVis">
          <ac:chgData name="Tian, Iris" userId="3a26a5fd-4e1b-43a0-894e-6aa7fc051075" providerId="ADAL" clId="{769D2C2D-E2EF-43C6-8651-D17697EBFD1B}" dt="2023-07-27T17:45:32.793" v="2731"/>
          <ac:spMkLst>
            <pc:docMk/>
            <pc:sldMk cId="1092821132" sldId="292"/>
            <ac:spMk id="2" creationId="{A4AA909E-01DC-694F-3A50-BB8CDDF6E4C7}"/>
          </ac:spMkLst>
        </pc:spChg>
        <pc:spChg chg="mod">
          <ac:chgData name="Tian, Iris" userId="3a26a5fd-4e1b-43a0-894e-6aa7fc051075" providerId="ADAL" clId="{769D2C2D-E2EF-43C6-8651-D17697EBFD1B}" dt="2023-07-27T17:45:37.793" v="2859" actId="948"/>
          <ac:spMkLst>
            <pc:docMk/>
            <pc:sldMk cId="1092821132" sldId="292"/>
            <ac:spMk id="3" creationId="{7CE3F372-A6A6-8D43-F8E6-BFE5CAC6EE0D}"/>
          </ac:spMkLst>
        </pc:spChg>
        <pc:spChg chg="mod">
          <ac:chgData name="Tian, Iris" userId="3a26a5fd-4e1b-43a0-894e-6aa7fc051075" providerId="ADAL" clId="{769D2C2D-E2EF-43C6-8651-D17697EBFD1B}" dt="2023-07-27T17:49:04.161" v="3424" actId="20577"/>
          <ac:spMkLst>
            <pc:docMk/>
            <pc:sldMk cId="1092821132" sldId="292"/>
            <ac:spMk id="4" creationId="{C1A00173-746E-E74D-DC09-144CA7BD8361}"/>
          </ac:spMkLst>
        </pc:spChg>
        <pc:spChg chg="add del mod modVis">
          <ac:chgData name="Tian, Iris" userId="3a26a5fd-4e1b-43a0-894e-6aa7fc051075" providerId="ADAL" clId="{769D2C2D-E2EF-43C6-8651-D17697EBFD1B}" dt="2023-07-27T17:45:34.209" v="2792"/>
          <ac:spMkLst>
            <pc:docMk/>
            <pc:sldMk cId="1092821132" sldId="292"/>
            <ac:spMk id="6" creationId="{72713028-BA67-2699-38AE-5A00A59F675B}"/>
          </ac:spMkLst>
        </pc:spChg>
        <pc:spChg chg="add del mod modVis">
          <ac:chgData name="Tian, Iris" userId="3a26a5fd-4e1b-43a0-894e-6aa7fc051075" providerId="ADAL" clId="{769D2C2D-E2EF-43C6-8651-D17697EBFD1B}" dt="2023-07-27T17:45:37.149" v="2855"/>
          <ac:spMkLst>
            <pc:docMk/>
            <pc:sldMk cId="1092821132" sldId="292"/>
            <ac:spMk id="7" creationId="{ED0F9085-FA92-C647-7552-2A0366396FC9}"/>
          </ac:spMkLst>
        </pc:spChg>
        <pc:spChg chg="add del mod modVis">
          <ac:chgData name="Tian, Iris" userId="3a26a5fd-4e1b-43a0-894e-6aa7fc051075" providerId="ADAL" clId="{769D2C2D-E2EF-43C6-8651-D17697EBFD1B}" dt="2023-07-27T17:45:37.862" v="2900"/>
          <ac:spMkLst>
            <pc:docMk/>
            <pc:sldMk cId="1092821132" sldId="292"/>
            <ac:spMk id="8" creationId="{731DF94D-3114-A726-0BF8-24D208AA524F}"/>
          </ac:spMkLst>
        </pc:spChg>
        <pc:graphicFrameChg chg="add mod ord modVis replST">
          <ac:chgData name="Tian, Iris" userId="3a26a5fd-4e1b-43a0-894e-6aa7fc051075" providerId="ADAL" clId="{769D2C2D-E2EF-43C6-8651-D17697EBFD1B}" dt="2023-07-27T17:45:37.867" v="2902"/>
          <ac:graphicFrameMkLst>
            <pc:docMk/>
            <pc:sldMk cId="1092821132" sldId="292"/>
            <ac:graphicFrameMk id="5" creationId="{E36C2791-7539-E027-873C-EE340204C8B2}"/>
          </ac:graphicFrameMkLst>
        </pc:graphicFrameChg>
      </pc:sldChg>
      <pc:sldChg chg="addSp delSp modSp add mod ord">
        <pc:chgData name="Tian, Iris" userId="3a26a5fd-4e1b-43a0-894e-6aa7fc051075" providerId="ADAL" clId="{769D2C2D-E2EF-43C6-8651-D17697EBFD1B}" dt="2023-07-27T17:51:40.814" v="3611"/>
        <pc:sldMkLst>
          <pc:docMk/>
          <pc:sldMk cId="1200664079" sldId="293"/>
        </pc:sldMkLst>
        <pc:spChg chg="mod">
          <ac:chgData name="Tian, Iris" userId="3a26a5fd-4e1b-43a0-894e-6aa7fc051075" providerId="ADAL" clId="{769D2C2D-E2EF-43C6-8651-D17697EBFD1B}" dt="2023-07-27T17:50:11.010" v="3506" actId="948"/>
          <ac:spMkLst>
            <pc:docMk/>
            <pc:sldMk cId="1200664079" sldId="293"/>
            <ac:spMk id="2" creationId="{FD03A14E-0327-76B4-4D43-018EAFE80796}"/>
          </ac:spMkLst>
        </pc:spChg>
        <pc:spChg chg="add del mod modVis">
          <ac:chgData name="Tian, Iris" userId="3a26a5fd-4e1b-43a0-894e-6aa7fc051075" providerId="ADAL" clId="{769D2C2D-E2EF-43C6-8651-D17697EBFD1B}" dt="2023-07-27T17:50:11.090" v="3547"/>
          <ac:spMkLst>
            <pc:docMk/>
            <pc:sldMk cId="1200664079" sldId="293"/>
            <ac:spMk id="3" creationId="{38E51EBF-18E7-EDF2-F49F-D27C78EF45B8}"/>
          </ac:spMkLst>
        </pc:spChg>
        <pc:graphicFrameChg chg="mod">
          <ac:chgData name="Tian, Iris" userId="3a26a5fd-4e1b-43a0-894e-6aa7fc051075" providerId="ADAL" clId="{769D2C2D-E2EF-43C6-8651-D17697EBFD1B}" dt="2023-07-27T17:50:11.094" v="3549"/>
          <ac:graphicFrameMkLst>
            <pc:docMk/>
            <pc:sldMk cId="1200664079" sldId="293"/>
            <ac:graphicFrameMk id="4" creationId="{74C1A67C-4979-04BE-2581-ACB22A08A8E8}"/>
          </ac:graphicFrameMkLst>
        </pc:graphicFrameChg>
      </pc:sldChg>
      <pc:sldChg chg="addSp delSp modSp add mod ord addCm delCm">
        <pc:chgData name="Tian, Iris" userId="3a26a5fd-4e1b-43a0-894e-6aa7fc051075" providerId="ADAL" clId="{769D2C2D-E2EF-43C6-8651-D17697EBFD1B}" dt="2023-08-24T18:24:08.043" v="5432" actId="1076"/>
        <pc:sldMkLst>
          <pc:docMk/>
          <pc:sldMk cId="1148755483" sldId="294"/>
        </pc:sldMkLst>
        <pc:spChg chg="mod">
          <ac:chgData name="Tian, Iris" userId="3a26a5fd-4e1b-43a0-894e-6aa7fc051075" providerId="ADAL" clId="{769D2C2D-E2EF-43C6-8651-D17697EBFD1B}" dt="2023-07-27T17:50:18.619" v="3561" actId="948"/>
          <ac:spMkLst>
            <pc:docMk/>
            <pc:sldMk cId="1148755483" sldId="294"/>
            <ac:spMk id="2" creationId="{FD03A14E-0327-76B4-4D43-018EAFE80796}"/>
          </ac:spMkLst>
        </pc:spChg>
        <pc:spChg chg="add del mod modVis">
          <ac:chgData name="Tian, Iris" userId="3a26a5fd-4e1b-43a0-894e-6aa7fc051075" providerId="ADAL" clId="{769D2C2D-E2EF-43C6-8651-D17697EBFD1B}" dt="2023-07-27T17:50:18.719" v="3602"/>
          <ac:spMkLst>
            <pc:docMk/>
            <pc:sldMk cId="1148755483" sldId="294"/>
            <ac:spMk id="3" creationId="{581218BA-8FE7-2DE3-4A83-67E9EA33AD7C}"/>
          </ac:spMkLst>
        </pc:spChg>
        <pc:spChg chg="add mod">
          <ac:chgData name="Tian, Iris" userId="3a26a5fd-4e1b-43a0-894e-6aa7fc051075" providerId="ADAL" clId="{769D2C2D-E2EF-43C6-8651-D17697EBFD1B}" dt="2023-08-24T18:24:08.043" v="5432" actId="1076"/>
          <ac:spMkLst>
            <pc:docMk/>
            <pc:sldMk cId="1148755483" sldId="294"/>
            <ac:spMk id="3" creationId="{AB17E4F5-09F4-F7AC-32C3-42DCB3F37244}"/>
          </ac:spMkLst>
        </pc:spChg>
        <pc:graphicFrameChg chg="mod">
          <ac:chgData name="Tian, Iris" userId="3a26a5fd-4e1b-43a0-894e-6aa7fc051075" providerId="ADAL" clId="{769D2C2D-E2EF-43C6-8651-D17697EBFD1B}" dt="2023-07-27T17:50:18.723" v="3604"/>
          <ac:graphicFrameMkLst>
            <pc:docMk/>
            <pc:sldMk cId="1148755483" sldId="294"/>
            <ac:graphicFrameMk id="4" creationId="{74C1A67C-4979-04BE-2581-ACB22A08A8E8}"/>
          </ac:graphicFrameMkLst>
        </pc:graphicFrameChg>
      </pc:sldChg>
      <pc:sldChg chg="addSp modSp new add mod ord addCm delCm">
        <pc:chgData name="Tian, Iris" userId="3a26a5fd-4e1b-43a0-894e-6aa7fc051075" providerId="ADAL" clId="{769D2C2D-E2EF-43C6-8651-D17697EBFD1B}" dt="2023-08-24T18:21:58.820" v="5115" actId="14100"/>
        <pc:sldMkLst>
          <pc:docMk/>
          <pc:sldMk cId="349678021" sldId="295"/>
        </pc:sldMkLst>
        <pc:spChg chg="add mod">
          <ac:chgData name="Tian, Iris" userId="3a26a5fd-4e1b-43a0-894e-6aa7fc051075" providerId="ADAL" clId="{769D2C2D-E2EF-43C6-8651-D17697EBFD1B}" dt="2023-08-24T18:21:58.820" v="5115" actId="14100"/>
          <ac:spMkLst>
            <pc:docMk/>
            <pc:sldMk cId="349678021" sldId="295"/>
            <ac:spMk id="3" creationId="{2F1A12F9-2FB9-7EDC-3D06-976E640B55DA}"/>
          </ac:spMkLst>
        </pc:spChg>
      </pc:sldChg>
      <pc:sldChg chg="addSp delSp modSp mod delCm">
        <pc:chgData name="Tian, Iris" userId="3a26a5fd-4e1b-43a0-894e-6aa7fc051075" providerId="ADAL" clId="{769D2C2D-E2EF-43C6-8651-D17697EBFD1B}" dt="2023-08-24T18:22:02.778" v="5117"/>
        <pc:sldMkLst>
          <pc:docMk/>
          <pc:sldMk cId="3022864456" sldId="296"/>
        </pc:sldMkLst>
        <pc:spChg chg="mod">
          <ac:chgData name="Tian, Iris" userId="3a26a5fd-4e1b-43a0-894e-6aa7fc051075" providerId="ADAL" clId="{769D2C2D-E2EF-43C6-8651-D17697EBFD1B}" dt="2023-08-24T18:21:18.638" v="5108" actId="6549"/>
          <ac:spMkLst>
            <pc:docMk/>
            <pc:sldMk cId="3022864456" sldId="296"/>
            <ac:spMk id="4" creationId="{34028033-A41C-C362-505D-0CCFDE53566F}"/>
          </ac:spMkLst>
        </pc:spChg>
        <pc:spChg chg="add del mod">
          <ac:chgData name="Tian, Iris" userId="3a26a5fd-4e1b-43a0-894e-6aa7fc051075" providerId="ADAL" clId="{769D2C2D-E2EF-43C6-8651-D17697EBFD1B}" dt="2023-08-24T18:22:02.501" v="5116" actId="478"/>
          <ac:spMkLst>
            <pc:docMk/>
            <pc:sldMk cId="3022864456" sldId="296"/>
            <ac:spMk id="5" creationId="{4BFB76E7-BEE6-693E-3337-5AC87AAADD23}"/>
          </ac:spMkLst>
        </pc:spChg>
        <pc:spChg chg="add mod">
          <ac:chgData name="Tian, Iris" userId="3a26a5fd-4e1b-43a0-894e-6aa7fc051075" providerId="ADAL" clId="{769D2C2D-E2EF-43C6-8651-D17697EBFD1B}" dt="2023-08-24T18:22:02.778" v="5117"/>
          <ac:spMkLst>
            <pc:docMk/>
            <pc:sldMk cId="3022864456" sldId="296"/>
            <ac:spMk id="6" creationId="{6681A336-318E-779C-2FF9-E607E540BD98}"/>
          </ac:spMkLst>
        </pc:spChg>
      </pc:sldChg>
      <pc:sldChg chg="addSp delSp modSp mod modCm">
        <pc:chgData name="Tian, Iris" userId="3a26a5fd-4e1b-43a0-894e-6aa7fc051075" providerId="ADAL" clId="{769D2C2D-E2EF-43C6-8651-D17697EBFD1B}" dt="2023-08-24T18:22:07.514" v="5119"/>
        <pc:sldMkLst>
          <pc:docMk/>
          <pc:sldMk cId="1813183265" sldId="297"/>
        </pc:sldMkLst>
        <pc:spChg chg="add mod">
          <ac:chgData name="Tian, Iris" userId="3a26a5fd-4e1b-43a0-894e-6aa7fc051075" providerId="ADAL" clId="{769D2C2D-E2EF-43C6-8651-D17697EBFD1B}" dt="2023-08-24T18:20:01.052" v="5098" actId="1076"/>
          <ac:spMkLst>
            <pc:docMk/>
            <pc:sldMk cId="1813183265" sldId="297"/>
            <ac:spMk id="3" creationId="{755C4DC4-A270-E738-9F0A-2F643EF2D3B4}"/>
          </ac:spMkLst>
        </pc:spChg>
        <pc:spChg chg="add mod">
          <ac:chgData name="Tian, Iris" userId="3a26a5fd-4e1b-43a0-894e-6aa7fc051075" providerId="ADAL" clId="{769D2C2D-E2EF-43C6-8651-D17697EBFD1B}" dt="2023-08-24T18:20:38.181" v="5105" actId="20577"/>
          <ac:spMkLst>
            <pc:docMk/>
            <pc:sldMk cId="1813183265" sldId="297"/>
            <ac:spMk id="4" creationId="{03910710-1157-12BB-799A-C3CEFA1794F2}"/>
          </ac:spMkLst>
        </pc:spChg>
        <pc:spChg chg="add del mod">
          <ac:chgData name="Tian, Iris" userId="3a26a5fd-4e1b-43a0-894e-6aa7fc051075" providerId="ADAL" clId="{769D2C2D-E2EF-43C6-8651-D17697EBFD1B}" dt="2023-08-24T18:22:07.333" v="5118" actId="478"/>
          <ac:spMkLst>
            <pc:docMk/>
            <pc:sldMk cId="1813183265" sldId="297"/>
            <ac:spMk id="5" creationId="{2F704F89-4938-890E-2165-996D297EE30C}"/>
          </ac:spMkLst>
        </pc:spChg>
        <pc:spChg chg="add mod">
          <ac:chgData name="Tian, Iris" userId="3a26a5fd-4e1b-43a0-894e-6aa7fc051075" providerId="ADAL" clId="{769D2C2D-E2EF-43C6-8651-D17697EBFD1B}" dt="2023-08-24T18:22:07.514" v="5119"/>
          <ac:spMkLst>
            <pc:docMk/>
            <pc:sldMk cId="1813183265" sldId="297"/>
            <ac:spMk id="6" creationId="{271565C0-EBE1-7F2A-0F40-F20305F80706}"/>
          </ac:spMkLst>
        </pc:spChg>
        <pc:spChg chg="mod">
          <ac:chgData name="Tian, Iris" userId="3a26a5fd-4e1b-43a0-894e-6aa7fc051075" providerId="ADAL" clId="{769D2C2D-E2EF-43C6-8651-D17697EBFD1B}" dt="2023-08-24T18:19:57.084" v="5096" actId="1076"/>
          <ac:spMkLst>
            <pc:docMk/>
            <pc:sldMk cId="1813183265" sldId="297"/>
            <ac:spMk id="11" creationId="{CE2A299B-D2CF-BE98-AF44-58F668412534}"/>
          </ac:spMkLst>
        </pc:spChg>
        <pc:spChg chg="mod">
          <ac:chgData name="Tian, Iris" userId="3a26a5fd-4e1b-43a0-894e-6aa7fc051075" providerId="ADAL" clId="{769D2C2D-E2EF-43C6-8651-D17697EBFD1B}" dt="2023-08-24T18:19:59.516" v="5097" actId="1076"/>
          <ac:spMkLst>
            <pc:docMk/>
            <pc:sldMk cId="1813183265" sldId="297"/>
            <ac:spMk id="14" creationId="{108A803C-27E3-99DF-F617-E992309BC809}"/>
          </ac:spMkLst>
        </pc:spChg>
        <pc:graphicFrameChg chg="mod">
          <ac:chgData name="Tian, Iris" userId="3a26a5fd-4e1b-43a0-894e-6aa7fc051075" providerId="ADAL" clId="{769D2C2D-E2EF-43C6-8651-D17697EBFD1B}" dt="2023-08-24T18:19:57.084" v="5096" actId="1076"/>
          <ac:graphicFrameMkLst>
            <pc:docMk/>
            <pc:sldMk cId="1813183265" sldId="297"/>
            <ac:graphicFrameMk id="8" creationId="{F41AB05B-B679-5CF9-6095-EBE8B443B291}"/>
          </ac:graphicFrameMkLst>
        </pc:graphicFrameChg>
        <pc:graphicFrameChg chg="mod">
          <ac:chgData name="Tian, Iris" userId="3a26a5fd-4e1b-43a0-894e-6aa7fc051075" providerId="ADAL" clId="{769D2C2D-E2EF-43C6-8651-D17697EBFD1B}" dt="2023-08-24T18:20:03.971" v="5099" actId="1076"/>
          <ac:graphicFrameMkLst>
            <pc:docMk/>
            <pc:sldMk cId="1813183265" sldId="297"/>
            <ac:graphicFrameMk id="9" creationId="{39DAB4E5-2F1E-DD4E-4AD6-EF2EF10C70AA}"/>
          </ac:graphicFrameMkLst>
        </pc:graphicFrameChg>
        <pc:graphicFrameChg chg="mod">
          <ac:chgData name="Tian, Iris" userId="3a26a5fd-4e1b-43a0-894e-6aa7fc051075" providerId="ADAL" clId="{769D2C2D-E2EF-43C6-8651-D17697EBFD1B}" dt="2023-08-24T18:19:59.516" v="5097" actId="1076"/>
          <ac:graphicFrameMkLst>
            <pc:docMk/>
            <pc:sldMk cId="1813183265" sldId="297"/>
            <ac:graphicFrameMk id="13" creationId="{47AD5C07-52D6-3371-30E1-B9484F38E2FF}"/>
          </ac:graphicFrameMkLst>
        </pc:graphicFrameChg>
      </pc:sldChg>
      <pc:sldChg chg="new add del">
        <pc:chgData name="Tian, Iris" userId="3a26a5fd-4e1b-43a0-894e-6aa7fc051075" providerId="ADAL" clId="{769D2C2D-E2EF-43C6-8651-D17697EBFD1B}" dt="2023-08-24T18:19:28.928" v="5069" actId="47"/>
        <pc:sldMkLst>
          <pc:docMk/>
          <pc:sldMk cId="3913198956" sldId="298"/>
        </pc:sldMkLst>
      </pc:sldChg>
    </pc:docChg>
  </pc:docChgLst>
  <pc:docChgLst>
    <pc:chgData name="Guinn, Sarah" userId="63e3ce5a-fcc6-474a-b3de-375720223e75" providerId="ADAL" clId="{D0183198-7876-4C7A-B1BE-BCAB6AE57610}"/>
    <pc:docChg chg="undo custSel addSld delSld modSld replTag">
      <pc:chgData name="Guinn, Sarah" userId="63e3ce5a-fcc6-474a-b3de-375720223e75" providerId="ADAL" clId="{D0183198-7876-4C7A-B1BE-BCAB6AE57610}" dt="2023-09-07T20:30:09.082" v="35227"/>
      <pc:docMkLst>
        <pc:docMk/>
      </pc:docMkLst>
      <pc:sldChg chg="addSp delSp modSp del mod">
        <pc:chgData name="Guinn, Sarah" userId="63e3ce5a-fcc6-474a-b3de-375720223e75" providerId="ADAL" clId="{D0183198-7876-4C7A-B1BE-BCAB6AE57610}" dt="2023-09-05T16:40:15.333" v="18937" actId="47"/>
        <pc:sldMkLst>
          <pc:docMk/>
          <pc:sldMk cId="99080806" sldId="298"/>
        </pc:sldMkLst>
        <pc:spChg chg="mod ord">
          <ac:chgData name="Guinn, Sarah" userId="63e3ce5a-fcc6-474a-b3de-375720223e75" providerId="ADAL" clId="{D0183198-7876-4C7A-B1BE-BCAB6AE57610}" dt="2023-09-05T16:27:49.160" v="12240" actId="948"/>
          <ac:spMkLst>
            <pc:docMk/>
            <pc:sldMk cId="99080806" sldId="298"/>
            <ac:spMk id="2" creationId="{D06490A8-2FAB-8E10-83A1-9BC5CF0A36C9}"/>
          </ac:spMkLst>
        </pc:spChg>
        <pc:spChg chg="del mod ord">
          <ac:chgData name="Guinn, Sarah" userId="63e3ce5a-fcc6-474a-b3de-375720223e75" providerId="ADAL" clId="{D0183198-7876-4C7A-B1BE-BCAB6AE57610}" dt="2023-09-05T16:26:34.943" v="10953" actId="478"/>
          <ac:spMkLst>
            <pc:docMk/>
            <pc:sldMk cId="99080806" sldId="298"/>
            <ac:spMk id="3" creationId="{755C4DC4-A270-E738-9F0A-2F643EF2D3B4}"/>
          </ac:spMkLst>
        </pc:spChg>
        <pc:spChg chg="del mod ord">
          <ac:chgData name="Guinn, Sarah" userId="63e3ce5a-fcc6-474a-b3de-375720223e75" providerId="ADAL" clId="{D0183198-7876-4C7A-B1BE-BCAB6AE57610}" dt="2023-09-05T16:26:37.352" v="10954" actId="478"/>
          <ac:spMkLst>
            <pc:docMk/>
            <pc:sldMk cId="99080806" sldId="298"/>
            <ac:spMk id="4" creationId="{03910710-1157-12BB-799A-C3CEFA1794F2}"/>
          </ac:spMkLst>
        </pc:spChg>
        <pc:spChg chg="del mod ord">
          <ac:chgData name="Guinn, Sarah" userId="63e3ce5a-fcc6-474a-b3de-375720223e75" providerId="ADAL" clId="{D0183198-7876-4C7A-B1BE-BCAB6AE57610}" dt="2023-09-05T16:26:30.681" v="10952" actId="478"/>
          <ac:spMkLst>
            <pc:docMk/>
            <pc:sldMk cId="99080806" sldId="298"/>
            <ac:spMk id="5" creationId="{E6F7CB28-19A8-56A3-962E-35889060E055}"/>
          </ac:spMkLst>
        </pc:spChg>
        <pc:spChg chg="mod ord">
          <ac:chgData name="Guinn, Sarah" userId="63e3ce5a-fcc6-474a-b3de-375720223e75" providerId="ADAL" clId="{D0183198-7876-4C7A-B1BE-BCAB6AE57610}" dt="2023-09-05T16:27:44.956" v="12206"/>
          <ac:spMkLst>
            <pc:docMk/>
            <pc:sldMk cId="99080806" sldId="298"/>
            <ac:spMk id="6" creationId="{271565C0-EBE1-7F2A-0F40-F20305F80706}"/>
          </ac:spMkLst>
        </pc:spChg>
        <pc:spChg chg="add del mod modVis">
          <ac:chgData name="Guinn, Sarah" userId="63e3ce5a-fcc6-474a-b3de-375720223e75" providerId="ADAL" clId="{D0183198-7876-4C7A-B1BE-BCAB6AE57610}" dt="2023-09-05T16:16:03.471" v="491"/>
          <ac:spMkLst>
            <pc:docMk/>
            <pc:sldMk cId="99080806" sldId="298"/>
            <ac:spMk id="7" creationId="{2FBBB021-4E85-CFCF-B574-BEA1540F86B1}"/>
          </ac:spMkLst>
        </pc:spChg>
        <pc:spChg chg="add del mod replST">
          <ac:chgData name="Guinn, Sarah" userId="63e3ce5a-fcc6-474a-b3de-375720223e75" providerId="ADAL" clId="{D0183198-7876-4C7A-B1BE-BCAB6AE57610}" dt="2023-09-05T16:21:40.401" v="3987"/>
          <ac:spMkLst>
            <pc:docMk/>
            <pc:sldMk cId="99080806" sldId="298"/>
            <ac:spMk id="8" creationId="{EF968287-18B2-CCE7-EB7B-E7DDAA3A8315}"/>
          </ac:spMkLst>
        </pc:spChg>
        <pc:spChg chg="add del mod replST">
          <ac:chgData name="Guinn, Sarah" userId="63e3ce5a-fcc6-474a-b3de-375720223e75" providerId="ADAL" clId="{D0183198-7876-4C7A-B1BE-BCAB6AE57610}" dt="2023-09-05T16:16:18.656" v="523"/>
          <ac:spMkLst>
            <pc:docMk/>
            <pc:sldMk cId="99080806" sldId="298"/>
            <ac:spMk id="9" creationId="{E07E4EAC-106C-92E2-46F6-54745DD50266}"/>
          </ac:spMkLst>
        </pc:spChg>
        <pc:spChg chg="mod ord">
          <ac:chgData name="Guinn, Sarah" userId="63e3ce5a-fcc6-474a-b3de-375720223e75" providerId="ADAL" clId="{D0183198-7876-4C7A-B1BE-BCAB6AE57610}" dt="2023-09-05T16:27:44.955" v="12204"/>
          <ac:spMkLst>
            <pc:docMk/>
            <pc:sldMk cId="99080806" sldId="298"/>
            <ac:spMk id="10" creationId="{5B6185C0-3E70-ADE0-92C1-76C2221CFA9A}"/>
          </ac:spMkLst>
        </pc:spChg>
        <pc:spChg chg="add del mod replST">
          <ac:chgData name="Guinn, Sarah" userId="63e3ce5a-fcc6-474a-b3de-375720223e75" providerId="ADAL" clId="{D0183198-7876-4C7A-B1BE-BCAB6AE57610}" dt="2023-09-05T16:16:24.124" v="834"/>
          <ac:spMkLst>
            <pc:docMk/>
            <pc:sldMk cId="99080806" sldId="298"/>
            <ac:spMk id="11" creationId="{99EE10E0-B4C9-6202-A127-A8B6A3CA8680}"/>
          </ac:spMkLst>
        </pc:spChg>
        <pc:spChg chg="add del mod replST">
          <ac:chgData name="Guinn, Sarah" userId="63e3ce5a-fcc6-474a-b3de-375720223e75" providerId="ADAL" clId="{D0183198-7876-4C7A-B1BE-BCAB6AE57610}" dt="2023-09-05T16:21:40.403" v="3990"/>
          <ac:spMkLst>
            <pc:docMk/>
            <pc:sldMk cId="99080806" sldId="298"/>
            <ac:spMk id="12" creationId="{5580CD98-793F-FD07-F069-13127203E254}"/>
          </ac:spMkLst>
        </pc:spChg>
        <pc:spChg chg="add del mod replST">
          <ac:chgData name="Guinn, Sarah" userId="63e3ce5a-fcc6-474a-b3de-375720223e75" providerId="ADAL" clId="{D0183198-7876-4C7A-B1BE-BCAB6AE57610}" dt="2023-09-05T16:17:04.844" v="872"/>
          <ac:spMkLst>
            <pc:docMk/>
            <pc:sldMk cId="99080806" sldId="298"/>
            <ac:spMk id="13" creationId="{029A9431-D52C-6135-0806-A4DDAF16B2F9}"/>
          </ac:spMkLst>
        </pc:spChg>
        <pc:spChg chg="add del mod replST">
          <ac:chgData name="Guinn, Sarah" userId="63e3ce5a-fcc6-474a-b3de-375720223e75" providerId="ADAL" clId="{D0183198-7876-4C7A-B1BE-BCAB6AE57610}" dt="2023-09-05T16:17:04.846" v="873"/>
          <ac:spMkLst>
            <pc:docMk/>
            <pc:sldMk cId="99080806" sldId="298"/>
            <ac:spMk id="14" creationId="{D4B8C4D5-9019-90FA-2D17-E1A880F50237}"/>
          </ac:spMkLst>
        </pc:spChg>
        <pc:spChg chg="add del mod replST">
          <ac:chgData name="Guinn, Sarah" userId="63e3ce5a-fcc6-474a-b3de-375720223e75" providerId="ADAL" clId="{D0183198-7876-4C7A-B1BE-BCAB6AE57610}" dt="2023-09-05T16:17:04.953" v="907"/>
          <ac:spMkLst>
            <pc:docMk/>
            <pc:sldMk cId="99080806" sldId="298"/>
            <ac:spMk id="15" creationId="{2326527F-25A7-01BA-2378-0AFE84E9FD45}"/>
          </ac:spMkLst>
        </pc:spChg>
        <pc:spChg chg="add del mod replST">
          <ac:chgData name="Guinn, Sarah" userId="63e3ce5a-fcc6-474a-b3de-375720223e75" providerId="ADAL" clId="{D0183198-7876-4C7A-B1BE-BCAB6AE57610}" dt="2023-09-05T16:16:20.113" v="625"/>
          <ac:spMkLst>
            <pc:docMk/>
            <pc:sldMk cId="99080806" sldId="298"/>
            <ac:spMk id="16" creationId="{02DAF7B2-E3BD-90D7-ED98-8BD84BB467AA}"/>
          </ac:spMkLst>
        </pc:spChg>
        <pc:spChg chg="add del mod replST">
          <ac:chgData name="Guinn, Sarah" userId="63e3ce5a-fcc6-474a-b3de-375720223e75" providerId="ADAL" clId="{D0183198-7876-4C7A-B1BE-BCAB6AE57610}" dt="2023-09-05T16:16:22.475" v="794"/>
          <ac:spMkLst>
            <pc:docMk/>
            <pc:sldMk cId="99080806" sldId="298"/>
            <ac:spMk id="17" creationId="{D536AC02-98C3-A88A-1185-8F527D73545B}"/>
          </ac:spMkLst>
        </pc:spChg>
        <pc:spChg chg="add del mod modVis">
          <ac:chgData name="Guinn, Sarah" userId="63e3ce5a-fcc6-474a-b3de-375720223e75" providerId="ADAL" clId="{D0183198-7876-4C7A-B1BE-BCAB6AE57610}" dt="2023-09-05T16:16:18.787" v="584"/>
          <ac:spMkLst>
            <pc:docMk/>
            <pc:sldMk cId="99080806" sldId="298"/>
            <ac:spMk id="20" creationId="{0BDB3C6F-0727-3A66-E96E-77619008F611}"/>
          </ac:spMkLst>
        </pc:spChg>
        <pc:spChg chg="add del mod modVis">
          <ac:chgData name="Guinn, Sarah" userId="63e3ce5a-fcc6-474a-b3de-375720223e75" providerId="ADAL" clId="{D0183198-7876-4C7A-B1BE-BCAB6AE57610}" dt="2023-09-05T16:16:20.224" v="658"/>
          <ac:spMkLst>
            <pc:docMk/>
            <pc:sldMk cId="99080806" sldId="298"/>
            <ac:spMk id="22" creationId="{AA17302A-0B76-E32B-28FD-5820D3CF9B4B}"/>
          </ac:spMkLst>
        </pc:spChg>
        <pc:spChg chg="add del mod modVis">
          <ac:chgData name="Guinn, Sarah" userId="63e3ce5a-fcc6-474a-b3de-375720223e75" providerId="ADAL" clId="{D0183198-7876-4C7A-B1BE-BCAB6AE57610}" dt="2023-09-05T16:16:22.126" v="781"/>
          <ac:spMkLst>
            <pc:docMk/>
            <pc:sldMk cId="99080806" sldId="298"/>
            <ac:spMk id="25" creationId="{5798AE68-C2CD-3656-F750-8D043F418E7F}"/>
          </ac:spMkLst>
        </pc:spChg>
        <pc:spChg chg="add del mod modVis">
          <ac:chgData name="Guinn, Sarah" userId="63e3ce5a-fcc6-474a-b3de-375720223e75" providerId="ADAL" clId="{D0183198-7876-4C7A-B1BE-BCAB6AE57610}" dt="2023-09-05T16:17:05.012" v="937"/>
          <ac:spMkLst>
            <pc:docMk/>
            <pc:sldMk cId="99080806" sldId="298"/>
            <ac:spMk id="29" creationId="{62D23CD3-5496-15EE-0F76-0049FABEBAA8}"/>
          </ac:spMkLst>
        </pc:spChg>
        <pc:spChg chg="add del mod modVis">
          <ac:chgData name="Guinn, Sarah" userId="63e3ce5a-fcc6-474a-b3de-375720223e75" providerId="ADAL" clId="{D0183198-7876-4C7A-B1BE-BCAB6AE57610}" dt="2023-09-05T16:17:21.370" v="1001"/>
          <ac:spMkLst>
            <pc:docMk/>
            <pc:sldMk cId="99080806" sldId="298"/>
            <ac:spMk id="31" creationId="{2A4625F4-172F-5029-5DBE-45865AF008BA}"/>
          </ac:spMkLst>
        </pc:spChg>
        <pc:spChg chg="add del mod modVis">
          <ac:chgData name="Guinn, Sarah" userId="63e3ce5a-fcc6-474a-b3de-375720223e75" providerId="ADAL" clId="{D0183198-7876-4C7A-B1BE-BCAB6AE57610}" dt="2023-09-05T16:18:08.473" v="1069"/>
          <ac:spMkLst>
            <pc:docMk/>
            <pc:sldMk cId="99080806" sldId="298"/>
            <ac:spMk id="33" creationId="{2A5D4A2D-86DF-BD2C-B223-B57E2066EBF1}"/>
          </ac:spMkLst>
        </pc:spChg>
        <pc:spChg chg="add del mod replST">
          <ac:chgData name="Guinn, Sarah" userId="63e3ce5a-fcc6-474a-b3de-375720223e75" providerId="ADAL" clId="{D0183198-7876-4C7A-B1BE-BCAB6AE57610}" dt="2023-09-05T16:21:40.400" v="3985"/>
          <ac:spMkLst>
            <pc:docMk/>
            <pc:sldMk cId="99080806" sldId="298"/>
            <ac:spMk id="35" creationId="{8DB3810D-3AE7-C28C-D9C7-3C066BA46079}"/>
          </ac:spMkLst>
        </pc:spChg>
        <pc:spChg chg="add del mod modVis">
          <ac:chgData name="Guinn, Sarah" userId="63e3ce5a-fcc6-474a-b3de-375720223e75" providerId="ADAL" clId="{D0183198-7876-4C7A-B1BE-BCAB6AE57610}" dt="2023-09-05T16:18:14.561" v="1148"/>
          <ac:spMkLst>
            <pc:docMk/>
            <pc:sldMk cId="99080806" sldId="298"/>
            <ac:spMk id="36" creationId="{1E738C45-1EB6-C77D-32EE-E0E65A2A36A8}"/>
          </ac:spMkLst>
        </pc:spChg>
        <pc:spChg chg="add del mod replST">
          <ac:chgData name="Guinn, Sarah" userId="63e3ce5a-fcc6-474a-b3de-375720223e75" providerId="ADAL" clId="{D0183198-7876-4C7A-B1BE-BCAB6AE57610}" dt="2023-09-05T16:21:40.400" v="3983"/>
          <ac:spMkLst>
            <pc:docMk/>
            <pc:sldMk cId="99080806" sldId="298"/>
            <ac:spMk id="38" creationId="{A873753C-F10D-ED0F-A26D-C65FFC86F77E}"/>
          </ac:spMkLst>
        </pc:spChg>
        <pc:spChg chg="add del mod modVis">
          <ac:chgData name="Guinn, Sarah" userId="63e3ce5a-fcc6-474a-b3de-375720223e75" providerId="ADAL" clId="{D0183198-7876-4C7A-B1BE-BCAB6AE57610}" dt="2023-09-05T16:18:18.624" v="1227"/>
          <ac:spMkLst>
            <pc:docMk/>
            <pc:sldMk cId="99080806" sldId="298"/>
            <ac:spMk id="39" creationId="{6A5F57CB-132F-3FE9-39EB-C562F0C4AEC2}"/>
          </ac:spMkLst>
        </pc:spChg>
        <pc:spChg chg="add del mod replST">
          <ac:chgData name="Guinn, Sarah" userId="63e3ce5a-fcc6-474a-b3de-375720223e75" providerId="ADAL" clId="{D0183198-7876-4C7A-B1BE-BCAB6AE57610}" dt="2023-09-05T16:21:40.398" v="3979"/>
          <ac:spMkLst>
            <pc:docMk/>
            <pc:sldMk cId="99080806" sldId="298"/>
            <ac:spMk id="41" creationId="{CCCC781D-E80B-DE4A-7B68-D56DE5619465}"/>
          </ac:spMkLst>
        </pc:spChg>
        <pc:spChg chg="add del mod modVis">
          <ac:chgData name="Guinn, Sarah" userId="63e3ce5a-fcc6-474a-b3de-375720223e75" providerId="ADAL" clId="{D0183198-7876-4C7A-B1BE-BCAB6AE57610}" dt="2023-09-05T16:18:24.740" v="1310"/>
          <ac:spMkLst>
            <pc:docMk/>
            <pc:sldMk cId="99080806" sldId="298"/>
            <ac:spMk id="42" creationId="{2C139323-25D8-B628-EB84-ACCE94329253}"/>
          </ac:spMkLst>
        </pc:spChg>
        <pc:spChg chg="add del mod replST">
          <ac:chgData name="Guinn, Sarah" userId="63e3ce5a-fcc6-474a-b3de-375720223e75" providerId="ADAL" clId="{D0183198-7876-4C7A-B1BE-BCAB6AE57610}" dt="2023-09-05T16:21:40.397" v="3975"/>
          <ac:spMkLst>
            <pc:docMk/>
            <pc:sldMk cId="99080806" sldId="298"/>
            <ac:spMk id="44" creationId="{52779E71-3568-7891-7DBB-97B61889326C}"/>
          </ac:spMkLst>
        </pc:spChg>
        <pc:spChg chg="add del mod modVis">
          <ac:chgData name="Guinn, Sarah" userId="63e3ce5a-fcc6-474a-b3de-375720223e75" providerId="ADAL" clId="{D0183198-7876-4C7A-B1BE-BCAB6AE57610}" dt="2023-09-05T16:18:32.018" v="1397"/>
          <ac:spMkLst>
            <pc:docMk/>
            <pc:sldMk cId="99080806" sldId="298"/>
            <ac:spMk id="45" creationId="{E1CF7DAC-F8F4-AC59-E42E-4DC2D35657F8}"/>
          </ac:spMkLst>
        </pc:spChg>
        <pc:spChg chg="add del mod modVis">
          <ac:chgData name="Guinn, Sarah" userId="63e3ce5a-fcc6-474a-b3de-375720223e75" providerId="ADAL" clId="{D0183198-7876-4C7A-B1BE-BCAB6AE57610}" dt="2023-09-05T16:18:34.333" v="1473"/>
          <ac:spMkLst>
            <pc:docMk/>
            <pc:sldMk cId="99080806" sldId="298"/>
            <ac:spMk id="47" creationId="{98DAC794-7DAC-033D-B5CD-315EAD16BFBA}"/>
          </ac:spMkLst>
        </pc:spChg>
        <pc:spChg chg="add del mod modVis">
          <ac:chgData name="Guinn, Sarah" userId="63e3ce5a-fcc6-474a-b3de-375720223e75" providerId="ADAL" clId="{D0183198-7876-4C7A-B1BE-BCAB6AE57610}" dt="2023-09-05T16:18:36" v="1549"/>
          <ac:spMkLst>
            <pc:docMk/>
            <pc:sldMk cId="99080806" sldId="298"/>
            <ac:spMk id="49" creationId="{C6B0B2AF-D4C6-F3B8-B6E7-EAC1B3C9FD4F}"/>
          </ac:spMkLst>
        </pc:spChg>
        <pc:spChg chg="add del mod modVis">
          <ac:chgData name="Guinn, Sarah" userId="63e3ce5a-fcc6-474a-b3de-375720223e75" providerId="ADAL" clId="{D0183198-7876-4C7A-B1BE-BCAB6AE57610}" dt="2023-09-05T16:19:16.780" v="1609"/>
          <ac:spMkLst>
            <pc:docMk/>
            <pc:sldMk cId="99080806" sldId="298"/>
            <ac:spMk id="51" creationId="{7BADA400-642D-DD67-EDB2-F652109F4685}"/>
          </ac:spMkLst>
        </pc:spChg>
        <pc:spChg chg="add del mod modVis">
          <ac:chgData name="Guinn, Sarah" userId="63e3ce5a-fcc6-474a-b3de-375720223e75" providerId="ADAL" clId="{D0183198-7876-4C7A-B1BE-BCAB6AE57610}" dt="2023-09-05T16:19:26.704" v="1669"/>
          <ac:spMkLst>
            <pc:docMk/>
            <pc:sldMk cId="99080806" sldId="298"/>
            <ac:spMk id="53" creationId="{6CEB0A08-45B3-25EB-C4F0-34580BA8F0DC}"/>
          </ac:spMkLst>
        </pc:spChg>
        <pc:spChg chg="add del mod modVis">
          <ac:chgData name="Guinn, Sarah" userId="63e3ce5a-fcc6-474a-b3de-375720223e75" providerId="ADAL" clId="{D0183198-7876-4C7A-B1BE-BCAB6AE57610}" dt="2023-09-05T16:19:39.169" v="1747"/>
          <ac:spMkLst>
            <pc:docMk/>
            <pc:sldMk cId="99080806" sldId="298"/>
            <ac:spMk id="55" creationId="{FA2BC49C-3246-5649-E524-8891D85E8C9D}"/>
          </ac:spMkLst>
        </pc:spChg>
        <pc:spChg chg="add del mod modVis">
          <ac:chgData name="Guinn, Sarah" userId="63e3ce5a-fcc6-474a-b3de-375720223e75" providerId="ADAL" clId="{D0183198-7876-4C7A-B1BE-BCAB6AE57610}" dt="2023-09-05T16:19:42.749" v="1823"/>
          <ac:spMkLst>
            <pc:docMk/>
            <pc:sldMk cId="99080806" sldId="298"/>
            <ac:spMk id="57" creationId="{2A56D5D8-868F-019B-1687-22491AE5A631}"/>
          </ac:spMkLst>
        </pc:spChg>
        <pc:spChg chg="add del mod modVis">
          <ac:chgData name="Guinn, Sarah" userId="63e3ce5a-fcc6-474a-b3de-375720223e75" providerId="ADAL" clId="{D0183198-7876-4C7A-B1BE-BCAB6AE57610}" dt="2023-09-05T16:19:45.297" v="1883"/>
          <ac:spMkLst>
            <pc:docMk/>
            <pc:sldMk cId="99080806" sldId="298"/>
            <ac:spMk id="59" creationId="{DD9DCD64-C2DB-57E7-021B-0F7666AB5254}"/>
          </ac:spMkLst>
        </pc:spChg>
        <pc:spChg chg="add del mod modVis">
          <ac:chgData name="Guinn, Sarah" userId="63e3ce5a-fcc6-474a-b3de-375720223e75" providerId="ADAL" clId="{D0183198-7876-4C7A-B1BE-BCAB6AE57610}" dt="2023-09-05T16:19:48.602" v="1943"/>
          <ac:spMkLst>
            <pc:docMk/>
            <pc:sldMk cId="99080806" sldId="298"/>
            <ac:spMk id="61" creationId="{2DA14967-3159-C640-E2E4-9EBDB787244D}"/>
          </ac:spMkLst>
        </pc:spChg>
        <pc:spChg chg="add del mod modVis">
          <ac:chgData name="Guinn, Sarah" userId="63e3ce5a-fcc6-474a-b3de-375720223e75" providerId="ADAL" clId="{D0183198-7876-4C7A-B1BE-BCAB6AE57610}" dt="2023-09-05T16:19:50.703" v="2003"/>
          <ac:spMkLst>
            <pc:docMk/>
            <pc:sldMk cId="99080806" sldId="298"/>
            <ac:spMk id="63" creationId="{9A9DFED4-8D6B-B10D-EA80-C6616D63B08B}"/>
          </ac:spMkLst>
        </pc:spChg>
        <pc:spChg chg="add del mod replST">
          <ac:chgData name="Guinn, Sarah" userId="63e3ce5a-fcc6-474a-b3de-375720223e75" providerId="ADAL" clId="{D0183198-7876-4C7A-B1BE-BCAB6AE57610}" dt="2023-09-05T16:21:40.402" v="3989"/>
          <ac:spMkLst>
            <pc:docMk/>
            <pc:sldMk cId="99080806" sldId="298"/>
            <ac:spMk id="65" creationId="{75C59B33-F5DD-DAA4-50C4-D9B65DCE737E}"/>
          </ac:spMkLst>
        </pc:spChg>
        <pc:spChg chg="add del mod replST">
          <ac:chgData name="Guinn, Sarah" userId="63e3ce5a-fcc6-474a-b3de-375720223e75" providerId="ADAL" clId="{D0183198-7876-4C7A-B1BE-BCAB6AE57610}" dt="2023-09-05T16:21:40.401" v="3988"/>
          <ac:spMkLst>
            <pc:docMk/>
            <pc:sldMk cId="99080806" sldId="298"/>
            <ac:spMk id="66" creationId="{2285CC19-6891-BE3B-4CA1-233BB2518795}"/>
          </ac:spMkLst>
        </pc:spChg>
        <pc:spChg chg="add del mod modVis">
          <ac:chgData name="Guinn, Sarah" userId="63e3ce5a-fcc6-474a-b3de-375720223e75" providerId="ADAL" clId="{D0183198-7876-4C7A-B1BE-BCAB6AE57610}" dt="2023-09-05T16:19:55.305" v="2384"/>
          <ac:spMkLst>
            <pc:docMk/>
            <pc:sldMk cId="99080806" sldId="298"/>
            <ac:spMk id="67" creationId="{7074450D-58F5-2BF7-A81A-1A41149200C0}"/>
          </ac:spMkLst>
        </pc:spChg>
        <pc:spChg chg="add del mod replST">
          <ac:chgData name="Guinn, Sarah" userId="63e3ce5a-fcc6-474a-b3de-375720223e75" providerId="ADAL" clId="{D0183198-7876-4C7A-B1BE-BCAB6AE57610}" dt="2023-09-05T16:21:40.401" v="3986"/>
          <ac:spMkLst>
            <pc:docMk/>
            <pc:sldMk cId="99080806" sldId="298"/>
            <ac:spMk id="68" creationId="{86292C9B-023F-B79A-2C4D-2478FD4B3A98}"/>
          </ac:spMkLst>
        </pc:spChg>
        <pc:spChg chg="add del mod replST">
          <ac:chgData name="Guinn, Sarah" userId="63e3ce5a-fcc6-474a-b3de-375720223e75" providerId="ADAL" clId="{D0183198-7876-4C7A-B1BE-BCAB6AE57610}" dt="2023-09-05T16:21:40.400" v="3984"/>
          <ac:spMkLst>
            <pc:docMk/>
            <pc:sldMk cId="99080806" sldId="298"/>
            <ac:spMk id="69" creationId="{AF1A3118-56AE-B143-58C2-902EA823AD73}"/>
          </ac:spMkLst>
        </pc:spChg>
        <pc:spChg chg="add del mod replST">
          <ac:chgData name="Guinn, Sarah" userId="63e3ce5a-fcc6-474a-b3de-375720223e75" providerId="ADAL" clId="{D0183198-7876-4C7A-B1BE-BCAB6AE57610}" dt="2023-09-05T16:21:40.399" v="3982"/>
          <ac:spMkLst>
            <pc:docMk/>
            <pc:sldMk cId="99080806" sldId="298"/>
            <ac:spMk id="70" creationId="{F9DED3F8-21AB-604E-E349-BC5937C43DA3}"/>
          </ac:spMkLst>
        </pc:spChg>
        <pc:spChg chg="add del mod replST">
          <ac:chgData name="Guinn, Sarah" userId="63e3ce5a-fcc6-474a-b3de-375720223e75" providerId="ADAL" clId="{D0183198-7876-4C7A-B1BE-BCAB6AE57610}" dt="2023-09-05T16:21:40.398" v="3978"/>
          <ac:spMkLst>
            <pc:docMk/>
            <pc:sldMk cId="99080806" sldId="298"/>
            <ac:spMk id="71" creationId="{CCB9B6AB-4492-8688-8C6D-EDB3A7176417}"/>
          </ac:spMkLst>
        </pc:spChg>
        <pc:spChg chg="add del mod replST">
          <ac:chgData name="Guinn, Sarah" userId="63e3ce5a-fcc6-474a-b3de-375720223e75" providerId="ADAL" clId="{D0183198-7876-4C7A-B1BE-BCAB6AE57610}" dt="2023-09-05T16:21:40.396" v="3974"/>
          <ac:spMkLst>
            <pc:docMk/>
            <pc:sldMk cId="99080806" sldId="298"/>
            <ac:spMk id="72" creationId="{FB59A7F1-7E90-2BF2-9FF9-ED6370F6B4C8}"/>
          </ac:spMkLst>
        </pc:spChg>
        <pc:spChg chg="add del mod modVis">
          <ac:chgData name="Guinn, Sarah" userId="63e3ce5a-fcc6-474a-b3de-375720223e75" providerId="ADAL" clId="{D0183198-7876-4C7A-B1BE-BCAB6AE57610}" dt="2023-09-05T16:20:13.691" v="2490"/>
          <ac:spMkLst>
            <pc:docMk/>
            <pc:sldMk cId="99080806" sldId="298"/>
            <ac:spMk id="75" creationId="{8F2AB527-0028-071C-FB15-614385916EB9}"/>
          </ac:spMkLst>
        </pc:spChg>
        <pc:spChg chg="add del mod modVis">
          <ac:chgData name="Guinn, Sarah" userId="63e3ce5a-fcc6-474a-b3de-375720223e75" providerId="ADAL" clId="{D0183198-7876-4C7A-B1BE-BCAB6AE57610}" dt="2023-09-05T16:20:17.101" v="2582"/>
          <ac:spMkLst>
            <pc:docMk/>
            <pc:sldMk cId="99080806" sldId="298"/>
            <ac:spMk id="77" creationId="{DF000B34-0A70-B7FB-996F-5F5BA0738FAC}"/>
          </ac:spMkLst>
        </pc:spChg>
        <pc:spChg chg="add del mod modVis">
          <ac:chgData name="Guinn, Sarah" userId="63e3ce5a-fcc6-474a-b3de-375720223e75" providerId="ADAL" clId="{D0183198-7876-4C7A-B1BE-BCAB6AE57610}" dt="2023-09-05T16:20:20.284" v="2724"/>
          <ac:spMkLst>
            <pc:docMk/>
            <pc:sldMk cId="99080806" sldId="298"/>
            <ac:spMk id="79" creationId="{017DBA6A-34DA-35E2-1647-E91F7C8673CA}"/>
          </ac:spMkLst>
        </pc:spChg>
        <pc:spChg chg="add del mod ord replST">
          <ac:chgData name="Guinn, Sarah" userId="63e3ce5a-fcc6-474a-b3de-375720223e75" providerId="ADAL" clId="{D0183198-7876-4C7A-B1BE-BCAB6AE57610}" dt="2023-09-05T16:21:40.399" v="3981"/>
          <ac:spMkLst>
            <pc:docMk/>
            <pc:sldMk cId="99080806" sldId="298"/>
            <ac:spMk id="80" creationId="{51308523-4F65-BB8A-8522-3410F80AF5EB}"/>
          </ac:spMkLst>
        </pc:spChg>
        <pc:spChg chg="add del mod ord replST">
          <ac:chgData name="Guinn, Sarah" userId="63e3ce5a-fcc6-474a-b3de-375720223e75" providerId="ADAL" clId="{D0183198-7876-4C7A-B1BE-BCAB6AE57610}" dt="2023-09-05T16:21:40.397" v="3977"/>
          <ac:spMkLst>
            <pc:docMk/>
            <pc:sldMk cId="99080806" sldId="298"/>
            <ac:spMk id="82" creationId="{30A89249-0110-F9F2-DA14-B1DEAA580090}"/>
          </ac:spMkLst>
        </pc:spChg>
        <pc:spChg chg="add del mod modVis">
          <ac:chgData name="Guinn, Sarah" userId="63e3ce5a-fcc6-474a-b3de-375720223e75" providerId="ADAL" clId="{D0183198-7876-4C7A-B1BE-BCAB6AE57610}" dt="2023-09-05T16:20:22.282" v="2847"/>
          <ac:spMkLst>
            <pc:docMk/>
            <pc:sldMk cId="99080806" sldId="298"/>
            <ac:spMk id="83" creationId="{A1C90712-69F5-A644-2BE5-1A43CEA1B0AD}"/>
          </ac:spMkLst>
        </pc:spChg>
        <pc:spChg chg="add del mod ord replST">
          <ac:chgData name="Guinn, Sarah" userId="63e3ce5a-fcc6-474a-b3de-375720223e75" providerId="ADAL" clId="{D0183198-7876-4C7A-B1BE-BCAB6AE57610}" dt="2023-09-05T16:21:40.395" v="3973"/>
          <ac:spMkLst>
            <pc:docMk/>
            <pc:sldMk cId="99080806" sldId="298"/>
            <ac:spMk id="85" creationId="{5519D142-2B50-4860-876B-3588CDE55FA0}"/>
          </ac:spMkLst>
        </pc:spChg>
        <pc:spChg chg="add del mod modVis">
          <ac:chgData name="Guinn, Sarah" userId="63e3ce5a-fcc6-474a-b3de-375720223e75" providerId="ADAL" clId="{D0183198-7876-4C7A-B1BE-BCAB6AE57610}" dt="2023-09-05T16:20:25.248" v="2973"/>
          <ac:spMkLst>
            <pc:docMk/>
            <pc:sldMk cId="99080806" sldId="298"/>
            <ac:spMk id="86" creationId="{46D81603-C29C-0B13-D6B7-8E18B2C6E4DF}"/>
          </ac:spMkLst>
        </pc:spChg>
        <pc:spChg chg="add del mod replST">
          <ac:chgData name="Guinn, Sarah" userId="63e3ce5a-fcc6-474a-b3de-375720223e75" providerId="ADAL" clId="{D0183198-7876-4C7A-B1BE-BCAB6AE57610}" dt="2023-09-05T16:26:13.710" v="10771"/>
          <ac:spMkLst>
            <pc:docMk/>
            <pc:sldMk cId="99080806" sldId="298"/>
            <ac:spMk id="88" creationId="{1438544B-6D51-F441-99FD-262CBA3DF384}"/>
          </ac:spMkLst>
        </pc:spChg>
        <pc:spChg chg="add del mod modVis">
          <ac:chgData name="Guinn, Sarah" userId="63e3ce5a-fcc6-474a-b3de-375720223e75" providerId="ADAL" clId="{D0183198-7876-4C7A-B1BE-BCAB6AE57610}" dt="2023-09-05T16:20:54.044" v="3311"/>
          <ac:spMkLst>
            <pc:docMk/>
            <pc:sldMk cId="99080806" sldId="298"/>
            <ac:spMk id="89" creationId="{1B3DF420-D3FC-94E4-3DC0-335FD1D20334}"/>
          </ac:spMkLst>
        </pc:spChg>
        <pc:spChg chg="add del mod replST">
          <ac:chgData name="Guinn, Sarah" userId="63e3ce5a-fcc6-474a-b3de-375720223e75" providerId="ADAL" clId="{D0183198-7876-4C7A-B1BE-BCAB6AE57610}" dt="2023-09-05T16:22:13.043" v="4519"/>
          <ac:spMkLst>
            <pc:docMk/>
            <pc:sldMk cId="99080806" sldId="298"/>
            <ac:spMk id="90" creationId="{D9CB5ACD-FDC0-74CC-4924-3162DA85C91A}"/>
          </ac:spMkLst>
        </pc:spChg>
        <pc:spChg chg="add mod replST">
          <ac:chgData name="Guinn, Sarah" userId="63e3ce5a-fcc6-474a-b3de-375720223e75" providerId="ADAL" clId="{D0183198-7876-4C7A-B1BE-BCAB6AE57610}" dt="2023-09-05T16:27:44.957" v="12210"/>
          <ac:spMkLst>
            <pc:docMk/>
            <pc:sldMk cId="99080806" sldId="298"/>
            <ac:spMk id="91" creationId="{25451B9E-D51F-A57B-665E-A7BEA26B9CF9}"/>
          </ac:spMkLst>
        </pc:spChg>
        <pc:spChg chg="add mod replST">
          <ac:chgData name="Guinn, Sarah" userId="63e3ce5a-fcc6-474a-b3de-375720223e75" providerId="ADAL" clId="{D0183198-7876-4C7A-B1BE-BCAB6AE57610}" dt="2023-09-05T16:27:44.957" v="12211"/>
          <ac:spMkLst>
            <pc:docMk/>
            <pc:sldMk cId="99080806" sldId="298"/>
            <ac:spMk id="92" creationId="{541DF10E-FBED-68D7-FFB7-E3FE12371BB9}"/>
          </ac:spMkLst>
        </pc:spChg>
        <pc:spChg chg="add mod replST">
          <ac:chgData name="Guinn, Sarah" userId="63e3ce5a-fcc6-474a-b3de-375720223e75" providerId="ADAL" clId="{D0183198-7876-4C7A-B1BE-BCAB6AE57610}" dt="2023-09-05T16:27:44.958" v="12212"/>
          <ac:spMkLst>
            <pc:docMk/>
            <pc:sldMk cId="99080806" sldId="298"/>
            <ac:spMk id="93" creationId="{11F35987-9E0B-C02A-4724-950375417DB9}"/>
          </ac:spMkLst>
        </pc:spChg>
        <pc:spChg chg="add del mod ord replST">
          <ac:chgData name="Guinn, Sarah" userId="63e3ce5a-fcc6-474a-b3de-375720223e75" providerId="ADAL" clId="{D0183198-7876-4C7A-B1BE-BCAB6AE57610}" dt="2023-09-05T16:26:13.709" v="10770"/>
          <ac:spMkLst>
            <pc:docMk/>
            <pc:sldMk cId="99080806" sldId="298"/>
            <ac:spMk id="95" creationId="{5DD4BDF2-9A60-9E99-69B4-6BFB365F71DF}"/>
          </ac:spMkLst>
        </pc:spChg>
        <pc:spChg chg="add del mod replST">
          <ac:chgData name="Guinn, Sarah" userId="63e3ce5a-fcc6-474a-b3de-375720223e75" providerId="ADAL" clId="{D0183198-7876-4C7A-B1BE-BCAB6AE57610}" dt="2023-09-05T16:22:13.041" v="4518"/>
          <ac:spMkLst>
            <pc:docMk/>
            <pc:sldMk cId="99080806" sldId="298"/>
            <ac:spMk id="96" creationId="{7238AB4C-F07D-AE41-90F6-2107DA55576B}"/>
          </ac:spMkLst>
        </pc:spChg>
        <pc:spChg chg="add mod replST">
          <ac:chgData name="Guinn, Sarah" userId="63e3ce5a-fcc6-474a-b3de-375720223e75" providerId="ADAL" clId="{D0183198-7876-4C7A-B1BE-BCAB6AE57610}" dt="2023-09-05T16:27:44.958" v="12213"/>
          <ac:spMkLst>
            <pc:docMk/>
            <pc:sldMk cId="99080806" sldId="298"/>
            <ac:spMk id="97" creationId="{E7E23A05-BD13-5818-A6F3-ACD20CE53719}"/>
          </ac:spMkLst>
        </pc:spChg>
        <pc:spChg chg="add mod replST">
          <ac:chgData name="Guinn, Sarah" userId="63e3ce5a-fcc6-474a-b3de-375720223e75" providerId="ADAL" clId="{D0183198-7876-4C7A-B1BE-BCAB6AE57610}" dt="2023-09-05T16:27:44.959" v="12214"/>
          <ac:spMkLst>
            <pc:docMk/>
            <pc:sldMk cId="99080806" sldId="298"/>
            <ac:spMk id="98" creationId="{3100F12B-AE00-CEEF-7B3F-FCEE45ABC928}"/>
          </ac:spMkLst>
        </pc:spChg>
        <pc:spChg chg="add del mod replST">
          <ac:chgData name="Guinn, Sarah" userId="63e3ce5a-fcc6-474a-b3de-375720223e75" providerId="ADAL" clId="{D0183198-7876-4C7A-B1BE-BCAB6AE57610}" dt="2023-09-05T16:21:05.464" v="3685"/>
          <ac:spMkLst>
            <pc:docMk/>
            <pc:sldMk cId="99080806" sldId="298"/>
            <ac:spMk id="99" creationId="{A68F07D5-9433-2B22-6768-D75B563ADFA8}"/>
          </ac:spMkLst>
        </pc:spChg>
        <pc:spChg chg="add del mod replST">
          <ac:chgData name="Guinn, Sarah" userId="63e3ce5a-fcc6-474a-b3de-375720223e75" providerId="ADAL" clId="{D0183198-7876-4C7A-B1BE-BCAB6AE57610}" dt="2023-09-05T16:22:13.044" v="4521"/>
          <ac:spMkLst>
            <pc:docMk/>
            <pc:sldMk cId="99080806" sldId="298"/>
            <ac:spMk id="100" creationId="{ABC3AAE8-BDBA-2EAA-5D70-396CB3ED2602}"/>
          </ac:spMkLst>
        </pc:spChg>
        <pc:spChg chg="add del mod replST">
          <ac:chgData name="Guinn, Sarah" userId="63e3ce5a-fcc6-474a-b3de-375720223e75" providerId="ADAL" clId="{D0183198-7876-4C7A-B1BE-BCAB6AE57610}" dt="2023-09-05T16:21:05.462" v="3681"/>
          <ac:spMkLst>
            <pc:docMk/>
            <pc:sldMk cId="99080806" sldId="298"/>
            <ac:spMk id="101" creationId="{DC3D6718-5E50-AB50-E424-0392C10AB430}"/>
          </ac:spMkLst>
        </pc:spChg>
        <pc:spChg chg="add del mod replST">
          <ac:chgData name="Guinn, Sarah" userId="63e3ce5a-fcc6-474a-b3de-375720223e75" providerId="ADAL" clId="{D0183198-7876-4C7A-B1BE-BCAB6AE57610}" dt="2023-09-05T16:21:05.463" v="3683"/>
          <ac:spMkLst>
            <pc:docMk/>
            <pc:sldMk cId="99080806" sldId="298"/>
            <ac:spMk id="102" creationId="{B9DC1E1B-5D0B-93DB-E202-4C1BAE5DB67B}"/>
          </ac:spMkLst>
        </pc:spChg>
        <pc:spChg chg="add del mod modVis">
          <ac:chgData name="Guinn, Sarah" userId="63e3ce5a-fcc6-474a-b3de-375720223e75" providerId="ADAL" clId="{D0183198-7876-4C7A-B1BE-BCAB6AE57610}" dt="2023-09-05T16:20:59.907" v="3677"/>
          <ac:spMkLst>
            <pc:docMk/>
            <pc:sldMk cId="99080806" sldId="298"/>
            <ac:spMk id="103" creationId="{0C7E5D29-4275-D43C-17F3-34FA4A89C1EA}"/>
          </ac:spMkLst>
        </pc:spChg>
        <pc:spChg chg="add del mod replST">
          <ac:chgData name="Guinn, Sarah" userId="63e3ce5a-fcc6-474a-b3de-375720223e75" providerId="ADAL" clId="{D0183198-7876-4C7A-B1BE-BCAB6AE57610}" dt="2023-09-05T16:21:05.464" v="3684"/>
          <ac:spMkLst>
            <pc:docMk/>
            <pc:sldMk cId="99080806" sldId="298"/>
            <ac:spMk id="104" creationId="{CC4FC1F3-72A9-DFB8-C35C-A8FAFDE21159}"/>
          </ac:spMkLst>
        </pc:spChg>
        <pc:spChg chg="add del mod replST">
          <ac:chgData name="Guinn, Sarah" userId="63e3ce5a-fcc6-474a-b3de-375720223e75" providerId="ADAL" clId="{D0183198-7876-4C7A-B1BE-BCAB6AE57610}" dt="2023-09-05T16:22:13.044" v="4520"/>
          <ac:spMkLst>
            <pc:docMk/>
            <pc:sldMk cId="99080806" sldId="298"/>
            <ac:spMk id="106" creationId="{D4CC73A9-2ABE-1A0A-034B-34AD864E9859}"/>
          </ac:spMkLst>
        </pc:spChg>
        <pc:spChg chg="add del mod replST">
          <ac:chgData name="Guinn, Sarah" userId="63e3ce5a-fcc6-474a-b3de-375720223e75" providerId="ADAL" clId="{D0183198-7876-4C7A-B1BE-BCAB6AE57610}" dt="2023-09-05T16:21:05.462" v="3680"/>
          <ac:spMkLst>
            <pc:docMk/>
            <pc:sldMk cId="99080806" sldId="298"/>
            <ac:spMk id="107" creationId="{675C94E4-1714-7835-4216-47CAE526C8C1}"/>
          </ac:spMkLst>
        </pc:spChg>
        <pc:spChg chg="add del mod replST">
          <ac:chgData name="Guinn, Sarah" userId="63e3ce5a-fcc6-474a-b3de-375720223e75" providerId="ADAL" clId="{D0183198-7876-4C7A-B1BE-BCAB6AE57610}" dt="2023-09-05T16:21:05.463" v="3682"/>
          <ac:spMkLst>
            <pc:docMk/>
            <pc:sldMk cId="99080806" sldId="298"/>
            <ac:spMk id="108" creationId="{FDBF0C10-8F6E-F4E2-1DA8-85C315D93D9C}"/>
          </ac:spMkLst>
        </pc:spChg>
        <pc:spChg chg="add del mod modVis">
          <ac:chgData name="Guinn, Sarah" userId="63e3ce5a-fcc6-474a-b3de-375720223e75" providerId="ADAL" clId="{D0183198-7876-4C7A-B1BE-BCAB6AE57610}" dt="2023-09-05T16:21:05.820" v="3969"/>
          <ac:spMkLst>
            <pc:docMk/>
            <pc:sldMk cId="99080806" sldId="298"/>
            <ac:spMk id="109" creationId="{8B457C37-2DCC-BDA3-C7BC-2D1350C4902C}"/>
          </ac:spMkLst>
        </pc:spChg>
        <pc:spChg chg="add mod replST">
          <ac:chgData name="Guinn, Sarah" userId="63e3ce5a-fcc6-474a-b3de-375720223e75" providerId="ADAL" clId="{D0183198-7876-4C7A-B1BE-BCAB6AE57610}" dt="2023-09-05T16:27:44.960" v="12218"/>
          <ac:spMkLst>
            <pc:docMk/>
            <pc:sldMk cId="99080806" sldId="298"/>
            <ac:spMk id="115" creationId="{2F85430C-A29D-D07D-D99D-FF5BA69A82C8}"/>
          </ac:spMkLst>
        </pc:spChg>
        <pc:spChg chg="add mod replST">
          <ac:chgData name="Guinn, Sarah" userId="63e3ce5a-fcc6-474a-b3de-375720223e75" providerId="ADAL" clId="{D0183198-7876-4C7A-B1BE-BCAB6AE57610}" dt="2023-09-05T16:27:44.961" v="12219"/>
          <ac:spMkLst>
            <pc:docMk/>
            <pc:sldMk cId="99080806" sldId="298"/>
            <ac:spMk id="116" creationId="{27E01F34-0FAB-ACED-7575-20452BE22E3F}"/>
          </ac:spMkLst>
        </pc:spChg>
        <pc:spChg chg="add mod replST">
          <ac:chgData name="Guinn, Sarah" userId="63e3ce5a-fcc6-474a-b3de-375720223e75" providerId="ADAL" clId="{D0183198-7876-4C7A-B1BE-BCAB6AE57610}" dt="2023-09-05T16:27:44.962" v="12220"/>
          <ac:spMkLst>
            <pc:docMk/>
            <pc:sldMk cId="99080806" sldId="298"/>
            <ac:spMk id="117" creationId="{75D8E63C-8E46-5480-B76F-8040FAF5703C}"/>
          </ac:spMkLst>
        </pc:spChg>
        <pc:spChg chg="add mod replST">
          <ac:chgData name="Guinn, Sarah" userId="63e3ce5a-fcc6-474a-b3de-375720223e75" providerId="ADAL" clId="{D0183198-7876-4C7A-B1BE-BCAB6AE57610}" dt="2023-09-05T16:27:44.962" v="12221"/>
          <ac:spMkLst>
            <pc:docMk/>
            <pc:sldMk cId="99080806" sldId="298"/>
            <ac:spMk id="118" creationId="{406082AF-9148-01EF-DC55-10012116387B}"/>
          </ac:spMkLst>
        </pc:spChg>
        <pc:spChg chg="add mod replST">
          <ac:chgData name="Guinn, Sarah" userId="63e3ce5a-fcc6-474a-b3de-375720223e75" providerId="ADAL" clId="{D0183198-7876-4C7A-B1BE-BCAB6AE57610}" dt="2023-09-05T16:27:44.963" v="12222"/>
          <ac:spMkLst>
            <pc:docMk/>
            <pc:sldMk cId="99080806" sldId="298"/>
            <ac:spMk id="119" creationId="{954B382F-7FD5-218E-B6D8-04798FFA0E70}"/>
          </ac:spMkLst>
        </pc:spChg>
        <pc:spChg chg="add del mod replST">
          <ac:chgData name="Guinn, Sarah" userId="63e3ce5a-fcc6-474a-b3de-375720223e75" providerId="ADAL" clId="{D0183198-7876-4C7A-B1BE-BCAB6AE57610}" dt="2023-09-05T16:22:25.667" v="4599"/>
          <ac:spMkLst>
            <pc:docMk/>
            <pc:sldMk cId="99080806" sldId="298"/>
            <ac:spMk id="120" creationId="{72AD0C9C-83DD-6636-E6D8-76AE4DF70854}"/>
          </ac:spMkLst>
        </pc:spChg>
        <pc:spChg chg="add mod ord replST">
          <ac:chgData name="Guinn, Sarah" userId="63e3ce5a-fcc6-474a-b3de-375720223e75" providerId="ADAL" clId="{D0183198-7876-4C7A-B1BE-BCAB6AE57610}" dt="2023-09-05T16:27:44.963" v="12224"/>
          <ac:spMkLst>
            <pc:docMk/>
            <pc:sldMk cId="99080806" sldId="298"/>
            <ac:spMk id="121" creationId="{8E20E7F3-52CC-7F0C-02A2-92CA3D6433AB}"/>
          </ac:spMkLst>
        </pc:spChg>
        <pc:spChg chg="add mod ord replST">
          <ac:chgData name="Guinn, Sarah" userId="63e3ce5a-fcc6-474a-b3de-375720223e75" providerId="ADAL" clId="{D0183198-7876-4C7A-B1BE-BCAB6AE57610}" dt="2023-09-05T16:27:44.964" v="12226"/>
          <ac:spMkLst>
            <pc:docMk/>
            <pc:sldMk cId="99080806" sldId="298"/>
            <ac:spMk id="122" creationId="{9C8E4C0A-F777-7883-7390-8F4317CB2F67}"/>
          </ac:spMkLst>
        </pc:spChg>
        <pc:spChg chg="add del mod replST">
          <ac:chgData name="Guinn, Sarah" userId="63e3ce5a-fcc6-474a-b3de-375720223e75" providerId="ADAL" clId="{D0183198-7876-4C7A-B1BE-BCAB6AE57610}" dt="2023-09-05T16:22:25.669" v="4600"/>
          <ac:spMkLst>
            <pc:docMk/>
            <pc:sldMk cId="99080806" sldId="298"/>
            <ac:spMk id="123" creationId="{441E8D20-F53F-2201-1424-08BA9AC129E9}"/>
          </ac:spMkLst>
        </pc:spChg>
        <pc:spChg chg="add mod replST">
          <ac:chgData name="Guinn, Sarah" userId="63e3ce5a-fcc6-474a-b3de-375720223e75" providerId="ADAL" clId="{D0183198-7876-4C7A-B1BE-BCAB6AE57610}" dt="2023-09-05T16:27:49.156" v="12237"/>
          <ac:spMkLst>
            <pc:docMk/>
            <pc:sldMk cId="99080806" sldId="298"/>
            <ac:spMk id="124" creationId="{25827B0A-4193-A2FA-DE49-A07871D56A64}"/>
          </ac:spMkLst>
        </pc:spChg>
        <pc:spChg chg="add mod replST">
          <ac:chgData name="Guinn, Sarah" userId="63e3ce5a-fcc6-474a-b3de-375720223e75" providerId="ADAL" clId="{D0183198-7876-4C7A-B1BE-BCAB6AE57610}" dt="2023-09-05T16:27:49.158" v="12238"/>
          <ac:spMkLst>
            <pc:docMk/>
            <pc:sldMk cId="99080806" sldId="298"/>
            <ac:spMk id="125" creationId="{AFF04976-6C0A-8E54-1124-583E45B63587}"/>
          </ac:spMkLst>
        </pc:spChg>
        <pc:spChg chg="add del mod modVis">
          <ac:chgData name="Guinn, Sarah" userId="63e3ce5a-fcc6-474a-b3de-375720223e75" providerId="ADAL" clId="{D0183198-7876-4C7A-B1BE-BCAB6AE57610}" dt="2023-09-05T16:22:01.083" v="4515"/>
          <ac:spMkLst>
            <pc:docMk/>
            <pc:sldMk cId="99080806" sldId="298"/>
            <ac:spMk id="126" creationId="{BF94B911-2667-7E2D-5392-B6941099C146}"/>
          </ac:spMkLst>
        </pc:spChg>
        <pc:spChg chg="add del mod modVis">
          <ac:chgData name="Guinn, Sarah" userId="63e3ce5a-fcc6-474a-b3de-375720223e75" providerId="ADAL" clId="{D0183198-7876-4C7A-B1BE-BCAB6AE57610}" dt="2023-09-05T16:22:51.952" v="4876"/>
          <ac:spMkLst>
            <pc:docMk/>
            <pc:sldMk cId="99080806" sldId="298"/>
            <ac:spMk id="131" creationId="{1068CF92-BBA5-5D9B-A3C9-92F2E09B7AFD}"/>
          </ac:spMkLst>
        </pc:spChg>
        <pc:spChg chg="add del mod modVis">
          <ac:chgData name="Guinn, Sarah" userId="63e3ce5a-fcc6-474a-b3de-375720223e75" providerId="ADAL" clId="{D0183198-7876-4C7A-B1BE-BCAB6AE57610}" dt="2023-09-05T16:22:54.551" v="5382"/>
          <ac:spMkLst>
            <pc:docMk/>
            <pc:sldMk cId="99080806" sldId="298"/>
            <ac:spMk id="133" creationId="{3ABF303F-76DE-1127-D553-F6592CE77AD4}"/>
          </ac:spMkLst>
        </pc:spChg>
        <pc:spChg chg="add del mod replST">
          <ac:chgData name="Guinn, Sarah" userId="63e3ce5a-fcc6-474a-b3de-375720223e75" providerId="ADAL" clId="{D0183198-7876-4C7A-B1BE-BCAB6AE57610}" dt="2023-09-05T16:22:55.281" v="5434"/>
          <ac:spMkLst>
            <pc:docMk/>
            <pc:sldMk cId="99080806" sldId="298"/>
            <ac:spMk id="134" creationId="{8B67AC90-184C-B435-88D5-962E8E084E1A}"/>
          </ac:spMkLst>
        </pc:spChg>
        <pc:spChg chg="add del mod replST">
          <ac:chgData name="Guinn, Sarah" userId="63e3ce5a-fcc6-474a-b3de-375720223e75" providerId="ADAL" clId="{D0183198-7876-4C7A-B1BE-BCAB6AE57610}" dt="2023-09-05T16:22:55.286" v="5435"/>
          <ac:spMkLst>
            <pc:docMk/>
            <pc:sldMk cId="99080806" sldId="298"/>
            <ac:spMk id="135" creationId="{F967AAFB-07F3-E9E0-0AE1-4444365208E8}"/>
          </ac:spMkLst>
        </pc:spChg>
        <pc:spChg chg="add del mod replST">
          <ac:chgData name="Guinn, Sarah" userId="63e3ce5a-fcc6-474a-b3de-375720223e75" providerId="ADAL" clId="{D0183198-7876-4C7A-B1BE-BCAB6AE57610}" dt="2023-09-05T16:22:55.286" v="5436"/>
          <ac:spMkLst>
            <pc:docMk/>
            <pc:sldMk cId="99080806" sldId="298"/>
            <ac:spMk id="136" creationId="{4CCDFB4D-B0F3-14A2-FDDC-ED72F57F0DFB}"/>
          </ac:spMkLst>
        </pc:spChg>
        <pc:spChg chg="add del mod replST">
          <ac:chgData name="Guinn, Sarah" userId="63e3ce5a-fcc6-474a-b3de-375720223e75" providerId="ADAL" clId="{D0183198-7876-4C7A-B1BE-BCAB6AE57610}" dt="2023-09-05T16:22:55.287" v="5437"/>
          <ac:spMkLst>
            <pc:docMk/>
            <pc:sldMk cId="99080806" sldId="298"/>
            <ac:spMk id="137" creationId="{D2BF563E-F24D-1ECF-789A-FEE7D2ADF18E}"/>
          </ac:spMkLst>
        </pc:spChg>
        <pc:spChg chg="add del mod replST">
          <ac:chgData name="Guinn, Sarah" userId="63e3ce5a-fcc6-474a-b3de-375720223e75" providerId="ADAL" clId="{D0183198-7876-4C7A-B1BE-BCAB6AE57610}" dt="2023-09-05T16:22:55.287" v="5438"/>
          <ac:spMkLst>
            <pc:docMk/>
            <pc:sldMk cId="99080806" sldId="298"/>
            <ac:spMk id="138" creationId="{691C76E5-90E0-F84C-58F4-054F6C2727E6}"/>
          </ac:spMkLst>
        </pc:spChg>
        <pc:spChg chg="add del mod replST">
          <ac:chgData name="Guinn, Sarah" userId="63e3ce5a-fcc6-474a-b3de-375720223e75" providerId="ADAL" clId="{D0183198-7876-4C7A-B1BE-BCAB6AE57610}" dt="2023-09-05T16:22:55.288" v="5439"/>
          <ac:spMkLst>
            <pc:docMk/>
            <pc:sldMk cId="99080806" sldId="298"/>
            <ac:spMk id="139" creationId="{8FA21042-76E9-1CE6-D5EF-63088E7241AA}"/>
          </ac:spMkLst>
        </pc:spChg>
        <pc:spChg chg="add del mod replST">
          <ac:chgData name="Guinn, Sarah" userId="63e3ce5a-fcc6-474a-b3de-375720223e75" providerId="ADAL" clId="{D0183198-7876-4C7A-B1BE-BCAB6AE57610}" dt="2023-09-05T16:22:55.289" v="5440"/>
          <ac:spMkLst>
            <pc:docMk/>
            <pc:sldMk cId="99080806" sldId="298"/>
            <ac:spMk id="140" creationId="{9505D2F1-9444-11AF-9029-5F060F57C161}"/>
          </ac:spMkLst>
        </pc:spChg>
        <pc:spChg chg="add del mod replST">
          <ac:chgData name="Guinn, Sarah" userId="63e3ce5a-fcc6-474a-b3de-375720223e75" providerId="ADAL" clId="{D0183198-7876-4C7A-B1BE-BCAB6AE57610}" dt="2023-09-05T16:22:55.289" v="5441"/>
          <ac:spMkLst>
            <pc:docMk/>
            <pc:sldMk cId="99080806" sldId="298"/>
            <ac:spMk id="141" creationId="{FDEC72E8-0913-371C-30D6-8A4C63FD9839}"/>
          </ac:spMkLst>
        </pc:spChg>
        <pc:spChg chg="add del mod replST">
          <ac:chgData name="Guinn, Sarah" userId="63e3ce5a-fcc6-474a-b3de-375720223e75" providerId="ADAL" clId="{D0183198-7876-4C7A-B1BE-BCAB6AE57610}" dt="2023-09-05T16:22:55.290" v="5442"/>
          <ac:spMkLst>
            <pc:docMk/>
            <pc:sldMk cId="99080806" sldId="298"/>
            <ac:spMk id="142" creationId="{C090C685-5AE4-A4C2-84EA-D34E248B3EF0}"/>
          </ac:spMkLst>
        </pc:spChg>
        <pc:spChg chg="add del mod modVis">
          <ac:chgData name="Guinn, Sarah" userId="63e3ce5a-fcc6-474a-b3de-375720223e75" providerId="ADAL" clId="{D0183198-7876-4C7A-B1BE-BCAB6AE57610}" dt="2023-09-05T16:22:55.353" v="5488"/>
          <ac:spMkLst>
            <pc:docMk/>
            <pc:sldMk cId="99080806" sldId="298"/>
            <ac:spMk id="144" creationId="{886F198A-CA43-866E-C42F-516D72A92F52}"/>
          </ac:spMkLst>
        </pc:spChg>
        <pc:spChg chg="add del mod modVis">
          <ac:chgData name="Guinn, Sarah" userId="63e3ce5a-fcc6-474a-b3de-375720223e75" providerId="ADAL" clId="{D0183198-7876-4C7A-B1BE-BCAB6AE57610}" dt="2023-09-05T16:22:56.072" v="5994"/>
          <ac:spMkLst>
            <pc:docMk/>
            <pc:sldMk cId="99080806" sldId="298"/>
            <ac:spMk id="146" creationId="{0B0C6F88-EB3F-EA3B-954D-D2375349217A}"/>
          </ac:spMkLst>
        </pc:spChg>
        <pc:spChg chg="add del mod replST">
          <ac:chgData name="Guinn, Sarah" userId="63e3ce5a-fcc6-474a-b3de-375720223e75" providerId="ADAL" clId="{D0183198-7876-4C7A-B1BE-BCAB6AE57610}" dt="2023-09-05T16:23:07.871" v="6836"/>
          <ac:spMkLst>
            <pc:docMk/>
            <pc:sldMk cId="99080806" sldId="298"/>
            <ac:spMk id="147" creationId="{EF301A50-D547-7EFB-F0EA-37BAD1785CA3}"/>
          </ac:spMkLst>
        </pc:spChg>
        <pc:spChg chg="add del mod replST">
          <ac:chgData name="Guinn, Sarah" userId="63e3ce5a-fcc6-474a-b3de-375720223e75" providerId="ADAL" clId="{D0183198-7876-4C7A-B1BE-BCAB6AE57610}" dt="2023-09-05T16:23:07.871" v="6837"/>
          <ac:spMkLst>
            <pc:docMk/>
            <pc:sldMk cId="99080806" sldId="298"/>
            <ac:spMk id="148" creationId="{63B6574A-3B29-9520-8108-27BB818721EB}"/>
          </ac:spMkLst>
        </pc:spChg>
        <pc:spChg chg="add del mod replST">
          <ac:chgData name="Guinn, Sarah" userId="63e3ce5a-fcc6-474a-b3de-375720223e75" providerId="ADAL" clId="{D0183198-7876-4C7A-B1BE-BCAB6AE57610}" dt="2023-09-05T16:23:07.872" v="6838"/>
          <ac:spMkLst>
            <pc:docMk/>
            <pc:sldMk cId="99080806" sldId="298"/>
            <ac:spMk id="149" creationId="{5E57450F-BD63-BDD6-6812-D3AAFCEE832E}"/>
          </ac:spMkLst>
        </pc:spChg>
        <pc:spChg chg="add del mod replST">
          <ac:chgData name="Guinn, Sarah" userId="63e3ce5a-fcc6-474a-b3de-375720223e75" providerId="ADAL" clId="{D0183198-7876-4C7A-B1BE-BCAB6AE57610}" dt="2023-09-05T16:23:07.872" v="6839"/>
          <ac:spMkLst>
            <pc:docMk/>
            <pc:sldMk cId="99080806" sldId="298"/>
            <ac:spMk id="150" creationId="{E761ADBA-C18F-32A5-97EE-364D533182E8}"/>
          </ac:spMkLst>
        </pc:spChg>
        <pc:spChg chg="add del mod replST">
          <ac:chgData name="Guinn, Sarah" userId="63e3ce5a-fcc6-474a-b3de-375720223e75" providerId="ADAL" clId="{D0183198-7876-4C7A-B1BE-BCAB6AE57610}" dt="2023-09-05T16:23:07.873" v="6840"/>
          <ac:spMkLst>
            <pc:docMk/>
            <pc:sldMk cId="99080806" sldId="298"/>
            <ac:spMk id="151" creationId="{DF558E15-4FA8-B364-8F8E-44D270A6048E}"/>
          </ac:spMkLst>
        </pc:spChg>
        <pc:spChg chg="add del mod replST">
          <ac:chgData name="Guinn, Sarah" userId="63e3ce5a-fcc6-474a-b3de-375720223e75" providerId="ADAL" clId="{D0183198-7876-4C7A-B1BE-BCAB6AE57610}" dt="2023-09-05T16:23:07.874" v="6841"/>
          <ac:spMkLst>
            <pc:docMk/>
            <pc:sldMk cId="99080806" sldId="298"/>
            <ac:spMk id="152" creationId="{A2BCEC8B-AB2F-2502-B762-FB6CB23DC8A2}"/>
          </ac:spMkLst>
        </pc:spChg>
        <pc:spChg chg="add del mod replST">
          <ac:chgData name="Guinn, Sarah" userId="63e3ce5a-fcc6-474a-b3de-375720223e75" providerId="ADAL" clId="{D0183198-7876-4C7A-B1BE-BCAB6AE57610}" dt="2023-09-05T16:23:07.875" v="6842"/>
          <ac:spMkLst>
            <pc:docMk/>
            <pc:sldMk cId="99080806" sldId="298"/>
            <ac:spMk id="153" creationId="{287F47A8-612A-98AC-039C-0C522E4AAF8A}"/>
          </ac:spMkLst>
        </pc:spChg>
        <pc:spChg chg="add del mod replST">
          <ac:chgData name="Guinn, Sarah" userId="63e3ce5a-fcc6-474a-b3de-375720223e75" providerId="ADAL" clId="{D0183198-7876-4C7A-B1BE-BCAB6AE57610}" dt="2023-09-05T16:23:07.876" v="6843"/>
          <ac:spMkLst>
            <pc:docMk/>
            <pc:sldMk cId="99080806" sldId="298"/>
            <ac:spMk id="154" creationId="{87D705CB-D959-5ED3-6E4C-8D85E39D83C7}"/>
          </ac:spMkLst>
        </pc:spChg>
        <pc:spChg chg="add del mod replST">
          <ac:chgData name="Guinn, Sarah" userId="63e3ce5a-fcc6-474a-b3de-375720223e75" providerId="ADAL" clId="{D0183198-7876-4C7A-B1BE-BCAB6AE57610}" dt="2023-09-05T16:23:07.877" v="6844"/>
          <ac:spMkLst>
            <pc:docMk/>
            <pc:sldMk cId="99080806" sldId="298"/>
            <ac:spMk id="155" creationId="{89CF57A9-E0E1-6C87-32C0-6AAF4390CC7D}"/>
          </ac:spMkLst>
        </pc:spChg>
        <pc:spChg chg="add del mod modVis">
          <ac:chgData name="Guinn, Sarah" userId="63e3ce5a-fcc6-474a-b3de-375720223e75" providerId="ADAL" clId="{D0183198-7876-4C7A-B1BE-BCAB6AE57610}" dt="2023-09-05T16:22:57.198" v="6100"/>
          <ac:spMkLst>
            <pc:docMk/>
            <pc:sldMk cId="99080806" sldId="298"/>
            <ac:spMk id="157" creationId="{81E1CDEF-F63A-6C23-A361-22CE84B4BB62}"/>
          </ac:spMkLst>
        </pc:spChg>
        <pc:spChg chg="add del mod modVis">
          <ac:chgData name="Guinn, Sarah" userId="63e3ce5a-fcc6-474a-b3de-375720223e75" providerId="ADAL" clId="{D0183198-7876-4C7A-B1BE-BCAB6AE57610}" dt="2023-09-05T16:23:05.979" v="6660" actId="962"/>
          <ac:spMkLst>
            <pc:docMk/>
            <pc:sldMk cId="99080806" sldId="298"/>
            <ac:spMk id="159" creationId="{D2D409D7-E90A-A16A-81E4-C65D0192D990}"/>
          </ac:spMkLst>
        </pc:spChg>
        <pc:spChg chg="add del mod modVis">
          <ac:chgData name="Guinn, Sarah" userId="63e3ce5a-fcc6-474a-b3de-375720223e75" providerId="ADAL" clId="{D0183198-7876-4C7A-B1BE-BCAB6AE57610}" dt="2023-09-05T16:23:05.930" v="6592" actId="962"/>
          <ac:spMkLst>
            <pc:docMk/>
            <pc:sldMk cId="99080806" sldId="298"/>
            <ac:spMk id="161" creationId="{0AB59750-90BF-F9A3-820E-819DE3EFDFBF}"/>
          </ac:spMkLst>
        </pc:spChg>
        <pc:spChg chg="add del mod modVis">
          <ac:chgData name="Guinn, Sarah" userId="63e3ce5a-fcc6-474a-b3de-375720223e75" providerId="ADAL" clId="{D0183198-7876-4C7A-B1BE-BCAB6AE57610}" dt="2023-09-05T16:23:05.882" v="6544" actId="962"/>
          <ac:spMkLst>
            <pc:docMk/>
            <pc:sldMk cId="99080806" sldId="298"/>
            <ac:spMk id="163" creationId="{E6920DCD-A1E7-3EBB-D57D-B2E82830294D}"/>
          </ac:spMkLst>
        </pc:spChg>
        <pc:spChg chg="add del mod modVis">
          <ac:chgData name="Guinn, Sarah" userId="63e3ce5a-fcc6-474a-b3de-375720223e75" providerId="ADAL" clId="{D0183198-7876-4C7A-B1BE-BCAB6AE57610}" dt="2023-09-05T16:23:07.977" v="6898"/>
          <ac:spMkLst>
            <pc:docMk/>
            <pc:sldMk cId="99080806" sldId="298"/>
            <ac:spMk id="165" creationId="{82162E09-3B20-F11D-F0FC-83CDA0A89F94}"/>
          </ac:spMkLst>
        </pc:spChg>
        <pc:spChg chg="add del mod modVis">
          <ac:chgData name="Guinn, Sarah" userId="63e3ce5a-fcc6-474a-b3de-375720223e75" providerId="ADAL" clId="{D0183198-7876-4C7A-B1BE-BCAB6AE57610}" dt="2023-09-05T16:23:16.930" v="6996"/>
          <ac:spMkLst>
            <pc:docMk/>
            <pc:sldMk cId="99080806" sldId="298"/>
            <ac:spMk id="167" creationId="{3BFCAE21-DE8A-CBE0-23CC-DEB72186C23E}"/>
          </ac:spMkLst>
        </pc:spChg>
        <pc:spChg chg="add del mod modVis">
          <ac:chgData name="Guinn, Sarah" userId="63e3ce5a-fcc6-474a-b3de-375720223e75" providerId="ADAL" clId="{D0183198-7876-4C7A-B1BE-BCAB6AE57610}" dt="2023-09-05T16:23:21.828" v="7210"/>
          <ac:spMkLst>
            <pc:docMk/>
            <pc:sldMk cId="99080806" sldId="298"/>
            <ac:spMk id="169" creationId="{837C5A96-2802-67D0-C2AE-565F70E67846}"/>
          </ac:spMkLst>
        </pc:spChg>
        <pc:spChg chg="add del mod replST">
          <ac:chgData name="Guinn, Sarah" userId="63e3ce5a-fcc6-474a-b3de-375720223e75" providerId="ADAL" clId="{D0183198-7876-4C7A-B1BE-BCAB6AE57610}" dt="2023-09-05T16:23:23.533" v="7223"/>
          <ac:spMkLst>
            <pc:docMk/>
            <pc:sldMk cId="99080806" sldId="298"/>
            <ac:spMk id="170" creationId="{3F19BDE9-0CE2-C7D7-32A3-C6E69479BF14}"/>
          </ac:spMkLst>
        </pc:spChg>
        <pc:spChg chg="add del mod modVis">
          <ac:chgData name="Guinn, Sarah" userId="63e3ce5a-fcc6-474a-b3de-375720223e75" providerId="ADAL" clId="{D0183198-7876-4C7A-B1BE-BCAB6AE57610}" dt="2023-09-05T16:23:39.299" v="7649"/>
          <ac:spMkLst>
            <pc:docMk/>
            <pc:sldMk cId="99080806" sldId="298"/>
            <ac:spMk id="177" creationId="{EB57CF0E-6E35-04C6-3A1D-283A30D4A3EB}"/>
          </ac:spMkLst>
        </pc:spChg>
        <pc:spChg chg="add del mod modVis">
          <ac:chgData name="Guinn, Sarah" userId="63e3ce5a-fcc6-474a-b3de-375720223e75" providerId="ADAL" clId="{D0183198-7876-4C7A-B1BE-BCAB6AE57610}" dt="2023-09-05T16:23:41.799" v="7752"/>
          <ac:spMkLst>
            <pc:docMk/>
            <pc:sldMk cId="99080806" sldId="298"/>
            <ac:spMk id="179" creationId="{F385FDF5-DBDC-02B0-188D-D7ED9C7EBA1F}"/>
          </ac:spMkLst>
        </pc:spChg>
        <pc:spChg chg="add del mod modVis">
          <ac:chgData name="Guinn, Sarah" userId="63e3ce5a-fcc6-474a-b3de-375720223e75" providerId="ADAL" clId="{D0183198-7876-4C7A-B1BE-BCAB6AE57610}" dt="2023-09-05T16:23:46.757" v="8216"/>
          <ac:spMkLst>
            <pc:docMk/>
            <pc:sldMk cId="99080806" sldId="298"/>
            <ac:spMk id="181" creationId="{89A6CE2A-6645-75F8-900A-99C06B0A1199}"/>
          </ac:spMkLst>
        </pc:spChg>
        <pc:spChg chg="add del mod replST">
          <ac:chgData name="Guinn, Sarah" userId="63e3ce5a-fcc6-474a-b3de-375720223e75" providerId="ADAL" clId="{D0183198-7876-4C7A-B1BE-BCAB6AE57610}" dt="2023-09-05T16:23:47.779" v="8271"/>
          <ac:spMkLst>
            <pc:docMk/>
            <pc:sldMk cId="99080806" sldId="298"/>
            <ac:spMk id="182" creationId="{43D90619-B5A9-8D26-465C-D3E7F0994B4B}"/>
          </ac:spMkLst>
        </pc:spChg>
        <pc:spChg chg="add del mod replST">
          <ac:chgData name="Guinn, Sarah" userId="63e3ce5a-fcc6-474a-b3de-375720223e75" providerId="ADAL" clId="{D0183198-7876-4C7A-B1BE-BCAB6AE57610}" dt="2023-09-05T16:23:47.780" v="8272"/>
          <ac:spMkLst>
            <pc:docMk/>
            <pc:sldMk cId="99080806" sldId="298"/>
            <ac:spMk id="183" creationId="{20073947-D816-51F5-956C-8C54A794D566}"/>
          </ac:spMkLst>
        </pc:spChg>
        <pc:spChg chg="add del mod replST">
          <ac:chgData name="Guinn, Sarah" userId="63e3ce5a-fcc6-474a-b3de-375720223e75" providerId="ADAL" clId="{D0183198-7876-4C7A-B1BE-BCAB6AE57610}" dt="2023-09-05T16:23:47.780" v="8273"/>
          <ac:spMkLst>
            <pc:docMk/>
            <pc:sldMk cId="99080806" sldId="298"/>
            <ac:spMk id="184" creationId="{3FA4B3EC-9FE3-935B-1D70-304486BC9314}"/>
          </ac:spMkLst>
        </pc:spChg>
        <pc:spChg chg="add del mod replST">
          <ac:chgData name="Guinn, Sarah" userId="63e3ce5a-fcc6-474a-b3de-375720223e75" providerId="ADAL" clId="{D0183198-7876-4C7A-B1BE-BCAB6AE57610}" dt="2023-09-05T16:23:47.781" v="8274"/>
          <ac:spMkLst>
            <pc:docMk/>
            <pc:sldMk cId="99080806" sldId="298"/>
            <ac:spMk id="185" creationId="{994EE7F2-07DC-B48E-F25F-9A78B7D36B76}"/>
          </ac:spMkLst>
        </pc:spChg>
        <pc:spChg chg="add del mod replST">
          <ac:chgData name="Guinn, Sarah" userId="63e3ce5a-fcc6-474a-b3de-375720223e75" providerId="ADAL" clId="{D0183198-7876-4C7A-B1BE-BCAB6AE57610}" dt="2023-09-05T16:23:47.781" v="8275"/>
          <ac:spMkLst>
            <pc:docMk/>
            <pc:sldMk cId="99080806" sldId="298"/>
            <ac:spMk id="186" creationId="{68BA1886-AAED-D134-0610-DABBFC2BB350}"/>
          </ac:spMkLst>
        </pc:spChg>
        <pc:spChg chg="add del mod replST">
          <ac:chgData name="Guinn, Sarah" userId="63e3ce5a-fcc6-474a-b3de-375720223e75" providerId="ADAL" clId="{D0183198-7876-4C7A-B1BE-BCAB6AE57610}" dt="2023-09-05T16:23:47.782" v="8276"/>
          <ac:spMkLst>
            <pc:docMk/>
            <pc:sldMk cId="99080806" sldId="298"/>
            <ac:spMk id="187" creationId="{4CEA0E01-FE8F-40C7-C259-B9F958E6BB30}"/>
          </ac:spMkLst>
        </pc:spChg>
        <pc:spChg chg="add del mod replST">
          <ac:chgData name="Guinn, Sarah" userId="63e3ce5a-fcc6-474a-b3de-375720223e75" providerId="ADAL" clId="{D0183198-7876-4C7A-B1BE-BCAB6AE57610}" dt="2023-09-05T16:23:47.783" v="8277"/>
          <ac:spMkLst>
            <pc:docMk/>
            <pc:sldMk cId="99080806" sldId="298"/>
            <ac:spMk id="188" creationId="{2925E033-9546-9214-F6CD-38AEC4D55192}"/>
          </ac:spMkLst>
        </pc:spChg>
        <pc:spChg chg="add del mod replST">
          <ac:chgData name="Guinn, Sarah" userId="63e3ce5a-fcc6-474a-b3de-375720223e75" providerId="ADAL" clId="{D0183198-7876-4C7A-B1BE-BCAB6AE57610}" dt="2023-09-05T16:23:47.784" v="8278"/>
          <ac:spMkLst>
            <pc:docMk/>
            <pc:sldMk cId="99080806" sldId="298"/>
            <ac:spMk id="189" creationId="{EE86721F-DC76-F94C-F889-E9C41B72568A}"/>
          </ac:spMkLst>
        </pc:spChg>
        <pc:spChg chg="add del mod modVis">
          <ac:chgData name="Guinn, Sarah" userId="63e3ce5a-fcc6-474a-b3de-375720223e75" providerId="ADAL" clId="{D0183198-7876-4C7A-B1BE-BCAB6AE57610}" dt="2023-09-05T16:23:47.860" v="8324"/>
          <ac:spMkLst>
            <pc:docMk/>
            <pc:sldMk cId="99080806" sldId="298"/>
            <ac:spMk id="191" creationId="{82F3AD2E-D161-E26A-41C9-DB1AF2C78F5C}"/>
          </ac:spMkLst>
        </pc:spChg>
        <pc:spChg chg="add del mod modVis">
          <ac:chgData name="Guinn, Sarah" userId="63e3ce5a-fcc6-474a-b3de-375720223e75" providerId="ADAL" clId="{D0183198-7876-4C7A-B1BE-BCAB6AE57610}" dt="2023-09-05T16:23:49.359" v="8418"/>
          <ac:spMkLst>
            <pc:docMk/>
            <pc:sldMk cId="99080806" sldId="298"/>
            <ac:spMk id="193" creationId="{C935638A-141F-1C72-AB6F-AC97CD7D5795}"/>
          </ac:spMkLst>
        </pc:spChg>
        <pc:spChg chg="add del mod modVis">
          <ac:chgData name="Guinn, Sarah" userId="63e3ce5a-fcc6-474a-b3de-375720223e75" providerId="ADAL" clId="{D0183198-7876-4C7A-B1BE-BCAB6AE57610}" dt="2023-09-05T16:23:55.628" v="8526"/>
          <ac:spMkLst>
            <pc:docMk/>
            <pc:sldMk cId="99080806" sldId="298"/>
            <ac:spMk id="195" creationId="{7B87F352-6659-8C2D-619B-9BE0DE69469C}"/>
          </ac:spMkLst>
        </pc:spChg>
        <pc:spChg chg="add del mod modVis">
          <ac:chgData name="Guinn, Sarah" userId="63e3ce5a-fcc6-474a-b3de-375720223e75" providerId="ADAL" clId="{D0183198-7876-4C7A-B1BE-BCAB6AE57610}" dt="2023-09-05T16:24:10.297" v="8618"/>
          <ac:spMkLst>
            <pc:docMk/>
            <pc:sldMk cId="99080806" sldId="298"/>
            <ac:spMk id="197" creationId="{3DE54DEF-812C-57D1-EFDD-77F21C4ACE7E}"/>
          </ac:spMkLst>
        </pc:spChg>
        <pc:spChg chg="add del mod modVis">
          <ac:chgData name="Guinn, Sarah" userId="63e3ce5a-fcc6-474a-b3de-375720223e75" providerId="ADAL" clId="{D0183198-7876-4C7A-B1BE-BCAB6AE57610}" dt="2023-09-05T16:24:17.547" v="9039"/>
          <ac:spMkLst>
            <pc:docMk/>
            <pc:sldMk cId="99080806" sldId="298"/>
            <ac:spMk id="199" creationId="{B401E68F-B2E7-C168-A057-AF687C39D264}"/>
          </ac:spMkLst>
        </pc:spChg>
        <pc:spChg chg="add del mod ord replST delST">
          <ac:chgData name="Guinn, Sarah" userId="63e3ce5a-fcc6-474a-b3de-375720223e75" providerId="ADAL" clId="{D0183198-7876-4C7A-B1BE-BCAB6AE57610}" dt="2023-09-05T16:24:17.547" v="9039"/>
          <ac:spMkLst>
            <pc:docMk/>
            <pc:sldMk cId="99080806" sldId="298"/>
            <ac:spMk id="200" creationId="{E631FDEE-3A61-4EF9-D834-191E7366E1E2}"/>
          </ac:spMkLst>
        </pc:spChg>
        <pc:spChg chg="add del mod modVis">
          <ac:chgData name="Guinn, Sarah" userId="63e3ce5a-fcc6-474a-b3de-375720223e75" providerId="ADAL" clId="{D0183198-7876-4C7A-B1BE-BCAB6AE57610}" dt="2023-09-05T16:24:23.645" v="9251"/>
          <ac:spMkLst>
            <pc:docMk/>
            <pc:sldMk cId="99080806" sldId="298"/>
            <ac:spMk id="207" creationId="{198A1DFE-BC39-E13F-68C7-D65AE183CEF4}"/>
          </ac:spMkLst>
        </pc:spChg>
        <pc:spChg chg="add del mod modVis">
          <ac:chgData name="Guinn, Sarah" userId="63e3ce5a-fcc6-474a-b3de-375720223e75" providerId="ADAL" clId="{D0183198-7876-4C7A-B1BE-BCAB6AE57610}" dt="2023-09-05T16:24:35.045" v="9346"/>
          <ac:spMkLst>
            <pc:docMk/>
            <pc:sldMk cId="99080806" sldId="298"/>
            <ac:spMk id="209" creationId="{243FD8AB-E666-7CB4-0E91-A42D123DFD7B}"/>
          </ac:spMkLst>
        </pc:spChg>
        <pc:spChg chg="add del mod modVis">
          <ac:chgData name="Guinn, Sarah" userId="63e3ce5a-fcc6-474a-b3de-375720223e75" providerId="ADAL" clId="{D0183198-7876-4C7A-B1BE-BCAB6AE57610}" dt="2023-09-05T16:24:39.778" v="9439"/>
          <ac:spMkLst>
            <pc:docMk/>
            <pc:sldMk cId="99080806" sldId="298"/>
            <ac:spMk id="211" creationId="{264E9CEB-4AC2-0996-2013-1C056F9FF4D4}"/>
          </ac:spMkLst>
        </pc:spChg>
        <pc:spChg chg="add del mod modVis">
          <ac:chgData name="Guinn, Sarah" userId="63e3ce5a-fcc6-474a-b3de-375720223e75" providerId="ADAL" clId="{D0183198-7876-4C7A-B1BE-BCAB6AE57610}" dt="2023-09-05T16:24:48.126" v="9676"/>
          <ac:spMkLst>
            <pc:docMk/>
            <pc:sldMk cId="99080806" sldId="298"/>
            <ac:spMk id="213" creationId="{D2143BA9-EE06-07FA-7655-18FC24F07B50}"/>
          </ac:spMkLst>
        </pc:spChg>
        <pc:spChg chg="add del mod modVis">
          <ac:chgData name="Guinn, Sarah" userId="63e3ce5a-fcc6-474a-b3de-375720223e75" providerId="ADAL" clId="{D0183198-7876-4C7A-B1BE-BCAB6AE57610}" dt="2023-09-05T16:24:57.060" v="9806"/>
          <ac:spMkLst>
            <pc:docMk/>
            <pc:sldMk cId="99080806" sldId="298"/>
            <ac:spMk id="215" creationId="{527FD2A9-8E6A-F732-A818-5D99D5D514B6}"/>
          </ac:spMkLst>
        </pc:spChg>
        <pc:spChg chg="add del mod modVis">
          <ac:chgData name="Guinn, Sarah" userId="63e3ce5a-fcc6-474a-b3de-375720223e75" providerId="ADAL" clId="{D0183198-7876-4C7A-B1BE-BCAB6AE57610}" dt="2023-09-05T16:25:27.982" v="9954"/>
          <ac:spMkLst>
            <pc:docMk/>
            <pc:sldMk cId="99080806" sldId="298"/>
            <ac:spMk id="217" creationId="{2D1C3E85-0297-1201-C2DF-1BCA761D534B}"/>
          </ac:spMkLst>
        </pc:spChg>
        <pc:spChg chg="add del mod modVis">
          <ac:chgData name="Guinn, Sarah" userId="63e3ce5a-fcc6-474a-b3de-375720223e75" providerId="ADAL" clId="{D0183198-7876-4C7A-B1BE-BCAB6AE57610}" dt="2023-09-05T16:25:37.862" v="10218"/>
          <ac:spMkLst>
            <pc:docMk/>
            <pc:sldMk cId="99080806" sldId="298"/>
            <ac:spMk id="219" creationId="{47B1F1AD-AC38-BFA2-9853-1E6FC7B0D884}"/>
          </ac:spMkLst>
        </pc:spChg>
        <pc:spChg chg="add del mod replST">
          <ac:chgData name="Guinn, Sarah" userId="63e3ce5a-fcc6-474a-b3de-375720223e75" providerId="ADAL" clId="{D0183198-7876-4C7A-B1BE-BCAB6AE57610}" dt="2023-09-05T16:25:49.592" v="10646"/>
          <ac:spMkLst>
            <pc:docMk/>
            <pc:sldMk cId="99080806" sldId="298"/>
            <ac:spMk id="220" creationId="{F893832B-9CFC-0DC9-D4B2-BDD743AB2832}"/>
          </ac:spMkLst>
        </pc:spChg>
        <pc:spChg chg="add del mod modVis">
          <ac:chgData name="Guinn, Sarah" userId="63e3ce5a-fcc6-474a-b3de-375720223e75" providerId="ADAL" clId="{D0183198-7876-4C7A-B1BE-BCAB6AE57610}" dt="2023-09-05T16:25:41.741" v="10320"/>
          <ac:spMkLst>
            <pc:docMk/>
            <pc:sldMk cId="99080806" sldId="298"/>
            <ac:spMk id="222" creationId="{B6DF8AE2-CEB4-382B-440F-984AAB29589C}"/>
          </ac:spMkLst>
        </pc:spChg>
        <pc:spChg chg="add del mod modVis">
          <ac:chgData name="Guinn, Sarah" userId="63e3ce5a-fcc6-474a-b3de-375720223e75" providerId="ADAL" clId="{D0183198-7876-4C7A-B1BE-BCAB6AE57610}" dt="2023-09-05T16:25:43.298" v="10426"/>
          <ac:spMkLst>
            <pc:docMk/>
            <pc:sldMk cId="99080806" sldId="298"/>
            <ac:spMk id="224" creationId="{A1FDFA35-45A5-0E2A-47C4-485F3BF1F885}"/>
          </ac:spMkLst>
        </pc:spChg>
        <pc:spChg chg="add del mod modVis">
          <ac:chgData name="Guinn, Sarah" userId="63e3ce5a-fcc6-474a-b3de-375720223e75" providerId="ADAL" clId="{D0183198-7876-4C7A-B1BE-BCAB6AE57610}" dt="2023-09-05T16:25:44.491" v="10528"/>
          <ac:spMkLst>
            <pc:docMk/>
            <pc:sldMk cId="99080806" sldId="298"/>
            <ac:spMk id="226" creationId="{9B2EF1B9-3101-B871-8C50-D5CA7A6B4C49}"/>
          </ac:spMkLst>
        </pc:spChg>
        <pc:spChg chg="add del mod modVis">
          <ac:chgData name="Guinn, Sarah" userId="63e3ce5a-fcc6-474a-b3de-375720223e75" providerId="ADAL" clId="{D0183198-7876-4C7A-B1BE-BCAB6AE57610}" dt="2023-09-05T16:25:48.204" v="10643"/>
          <ac:spMkLst>
            <pc:docMk/>
            <pc:sldMk cId="99080806" sldId="298"/>
            <ac:spMk id="228" creationId="{81416C77-9236-AC5B-6002-B2A6BE5AB9AC}"/>
          </ac:spMkLst>
        </pc:spChg>
        <pc:spChg chg="add del mod modVis">
          <ac:chgData name="Guinn, Sarah" userId="63e3ce5a-fcc6-474a-b3de-375720223e75" providerId="ADAL" clId="{D0183198-7876-4C7A-B1BE-BCAB6AE57610}" dt="2023-09-05T16:25:49.683" v="10737"/>
          <ac:spMkLst>
            <pc:docMk/>
            <pc:sldMk cId="99080806" sldId="298"/>
            <ac:spMk id="230" creationId="{E83BE484-8A79-5603-394D-4D0BB9708667}"/>
          </ac:spMkLst>
        </pc:spChg>
        <pc:spChg chg="add del mod replST">
          <ac:chgData name="Guinn, Sarah" userId="63e3ce5a-fcc6-474a-b3de-375720223e75" providerId="ADAL" clId="{D0183198-7876-4C7A-B1BE-BCAB6AE57610}" dt="2023-09-05T16:26:06.932" v="10759"/>
          <ac:spMkLst>
            <pc:docMk/>
            <pc:sldMk cId="99080806" sldId="298"/>
            <ac:spMk id="232" creationId="{51AD6A01-53A6-FC21-B14A-34221FF96E2D}"/>
          </ac:spMkLst>
        </pc:spChg>
        <pc:spChg chg="add del mod replST">
          <ac:chgData name="Guinn, Sarah" userId="63e3ce5a-fcc6-474a-b3de-375720223e75" providerId="ADAL" clId="{D0183198-7876-4C7A-B1BE-BCAB6AE57610}" dt="2023-09-05T16:26:06.931" v="10756"/>
          <ac:spMkLst>
            <pc:docMk/>
            <pc:sldMk cId="99080806" sldId="298"/>
            <ac:spMk id="233" creationId="{EE4E93CB-C57F-D28B-40C7-E39FBC4ED9DB}"/>
          </ac:spMkLst>
        </pc:spChg>
        <pc:spChg chg="add del mod replST">
          <ac:chgData name="Guinn, Sarah" userId="63e3ce5a-fcc6-474a-b3de-375720223e75" providerId="ADAL" clId="{D0183198-7876-4C7A-B1BE-BCAB6AE57610}" dt="2023-09-05T16:26:06.932" v="10760"/>
          <ac:spMkLst>
            <pc:docMk/>
            <pc:sldMk cId="99080806" sldId="298"/>
            <ac:spMk id="234" creationId="{9D3AC550-EB1C-F5A1-D730-53DE03075E84}"/>
          </ac:spMkLst>
        </pc:spChg>
        <pc:spChg chg="add del mod replST">
          <ac:chgData name="Guinn, Sarah" userId="63e3ce5a-fcc6-474a-b3de-375720223e75" providerId="ADAL" clId="{D0183198-7876-4C7A-B1BE-BCAB6AE57610}" dt="2023-09-05T16:26:06.931" v="10757"/>
          <ac:spMkLst>
            <pc:docMk/>
            <pc:sldMk cId="99080806" sldId="298"/>
            <ac:spMk id="235" creationId="{6415E099-7C0A-238D-3876-07A99524A4AA}"/>
          </ac:spMkLst>
        </pc:spChg>
        <pc:spChg chg="add mod replST">
          <ac:chgData name="Guinn, Sarah" userId="63e3ce5a-fcc6-474a-b3de-375720223e75" providerId="ADAL" clId="{D0183198-7876-4C7A-B1BE-BCAB6AE57610}" dt="2023-09-05T16:27:49.166" v="12244"/>
          <ac:spMkLst>
            <pc:docMk/>
            <pc:sldMk cId="99080806" sldId="298"/>
            <ac:spMk id="236" creationId="{EF15CC2C-5E78-D2ED-B45C-0B81C5B8E085}"/>
          </ac:spMkLst>
        </pc:spChg>
        <pc:spChg chg="add del mod modVis">
          <ac:chgData name="Guinn, Sarah" userId="63e3ce5a-fcc6-474a-b3de-375720223e75" providerId="ADAL" clId="{D0183198-7876-4C7A-B1BE-BCAB6AE57610}" dt="2023-09-05T16:26:16.831" v="10925"/>
          <ac:spMkLst>
            <pc:docMk/>
            <pc:sldMk cId="99080806" sldId="298"/>
            <ac:spMk id="237" creationId="{21BD5517-9878-4350-CD7E-432706C43002}"/>
          </ac:spMkLst>
        </pc:spChg>
        <pc:spChg chg="add mod replST">
          <ac:chgData name="Guinn, Sarah" userId="63e3ce5a-fcc6-474a-b3de-375720223e75" providerId="ADAL" clId="{D0183198-7876-4C7A-B1BE-BCAB6AE57610}" dt="2023-09-05T16:27:49.165" v="12242"/>
          <ac:spMkLst>
            <pc:docMk/>
            <pc:sldMk cId="99080806" sldId="298"/>
            <ac:spMk id="239" creationId="{0F3703B8-DB60-F57D-7801-39DE34F3FE81}"/>
          </ac:spMkLst>
        </pc:spChg>
        <pc:spChg chg="add del mod modVis">
          <ac:chgData name="Guinn, Sarah" userId="63e3ce5a-fcc6-474a-b3de-375720223e75" providerId="ADAL" clId="{D0183198-7876-4C7A-B1BE-BCAB6AE57610}" dt="2023-09-05T16:26:43.169" v="11093"/>
          <ac:spMkLst>
            <pc:docMk/>
            <pc:sldMk cId="99080806" sldId="298"/>
            <ac:spMk id="240" creationId="{B6B16EA7-0F2D-CA19-43D4-0A6A0A6DA166}"/>
          </ac:spMkLst>
        </pc:spChg>
        <pc:spChg chg="add mod replST">
          <ac:chgData name="Guinn, Sarah" userId="63e3ce5a-fcc6-474a-b3de-375720223e75" providerId="ADAL" clId="{D0183198-7876-4C7A-B1BE-BCAB6AE57610}" dt="2023-09-05T16:27:44.957" v="12209"/>
          <ac:spMkLst>
            <pc:docMk/>
            <pc:sldMk cId="99080806" sldId="298"/>
            <ac:spMk id="241" creationId="{B24C0FDD-20D9-6872-6C48-80C444D0C47A}"/>
          </ac:spMkLst>
        </pc:spChg>
        <pc:spChg chg="add del mod modVis">
          <ac:chgData name="Guinn, Sarah" userId="63e3ce5a-fcc6-474a-b3de-375720223e75" providerId="ADAL" clId="{D0183198-7876-4C7A-B1BE-BCAB6AE57610}" dt="2023-09-05T16:26:47.463" v="11194"/>
          <ac:spMkLst>
            <pc:docMk/>
            <pc:sldMk cId="99080806" sldId="298"/>
            <ac:spMk id="243" creationId="{FA875A90-8793-FF59-8D77-460D171CB5E5}"/>
          </ac:spMkLst>
        </pc:spChg>
        <pc:spChg chg="add del mod modVis">
          <ac:chgData name="Guinn, Sarah" userId="63e3ce5a-fcc6-474a-b3de-375720223e75" providerId="ADAL" clId="{D0183198-7876-4C7A-B1BE-BCAB6AE57610}" dt="2023-09-05T16:26:49.284" v="11285"/>
          <ac:spMkLst>
            <pc:docMk/>
            <pc:sldMk cId="99080806" sldId="298"/>
            <ac:spMk id="245" creationId="{C5DBBFFA-77A7-9C85-8A8B-C35DA17099AF}"/>
          </ac:spMkLst>
        </pc:spChg>
        <pc:spChg chg="add del mod modVis">
          <ac:chgData name="Guinn, Sarah" userId="63e3ce5a-fcc6-474a-b3de-375720223e75" providerId="ADAL" clId="{D0183198-7876-4C7A-B1BE-BCAB6AE57610}" dt="2023-09-05T16:26:54.889" v="11537"/>
          <ac:spMkLst>
            <pc:docMk/>
            <pc:sldMk cId="99080806" sldId="298"/>
            <ac:spMk id="247" creationId="{9BFFDB62-6E02-416B-2951-BEF8134DF83D}"/>
          </ac:spMkLst>
        </pc:spChg>
        <pc:spChg chg="add mod replST">
          <ac:chgData name="Guinn, Sarah" userId="63e3ce5a-fcc6-474a-b3de-375720223e75" providerId="ADAL" clId="{D0183198-7876-4C7A-B1BE-BCAB6AE57610}" dt="2023-09-05T16:27:44.960" v="12217"/>
          <ac:spMkLst>
            <pc:docMk/>
            <pc:sldMk cId="99080806" sldId="298"/>
            <ac:spMk id="248" creationId="{77B1171A-7FC9-7ACD-E145-F43F3188DEA3}"/>
          </ac:spMkLst>
        </pc:spChg>
        <pc:spChg chg="add del mod modVis">
          <ac:chgData name="Guinn, Sarah" userId="63e3ce5a-fcc6-474a-b3de-375720223e75" providerId="ADAL" clId="{D0183198-7876-4C7A-B1BE-BCAB6AE57610}" dt="2023-09-05T16:27:09.434" v="11643"/>
          <ac:spMkLst>
            <pc:docMk/>
            <pc:sldMk cId="99080806" sldId="298"/>
            <ac:spMk id="250" creationId="{DF5166B3-A097-82C6-CAD1-9BE530A5A1B7}"/>
          </ac:spMkLst>
        </pc:spChg>
        <pc:spChg chg="add del mod modVis">
          <ac:chgData name="Guinn, Sarah" userId="63e3ce5a-fcc6-474a-b3de-375720223e75" providerId="ADAL" clId="{D0183198-7876-4C7A-B1BE-BCAB6AE57610}" dt="2023-09-05T16:27:13.980" v="11736"/>
          <ac:spMkLst>
            <pc:docMk/>
            <pc:sldMk cId="99080806" sldId="298"/>
            <ac:spMk id="252" creationId="{4C670F2B-63AC-8FA2-1A2F-4CC6C66770CF}"/>
          </ac:spMkLst>
        </pc:spChg>
        <pc:spChg chg="add del mod modVis">
          <ac:chgData name="Guinn, Sarah" userId="63e3ce5a-fcc6-474a-b3de-375720223e75" providerId="ADAL" clId="{D0183198-7876-4C7A-B1BE-BCAB6AE57610}" dt="2023-09-05T16:27:20.084" v="11837"/>
          <ac:spMkLst>
            <pc:docMk/>
            <pc:sldMk cId="99080806" sldId="298"/>
            <ac:spMk id="254" creationId="{6D5AA009-EB75-4FA7-31C5-AA2A0F8DF2EE}"/>
          </ac:spMkLst>
        </pc:spChg>
        <pc:spChg chg="add del mod modVis">
          <ac:chgData name="Guinn, Sarah" userId="63e3ce5a-fcc6-474a-b3de-375720223e75" providerId="ADAL" clId="{D0183198-7876-4C7A-B1BE-BCAB6AE57610}" dt="2023-09-05T16:27:37.913" v="12013"/>
          <ac:spMkLst>
            <pc:docMk/>
            <pc:sldMk cId="99080806" sldId="298"/>
            <ac:spMk id="256" creationId="{747CA7BF-7186-6156-6BF8-31118F51914B}"/>
          </ac:spMkLst>
        </pc:spChg>
        <pc:spChg chg="add del mod modVis">
          <ac:chgData name="Guinn, Sarah" userId="63e3ce5a-fcc6-474a-b3de-375720223e75" providerId="ADAL" clId="{D0183198-7876-4C7A-B1BE-BCAB6AE57610}" dt="2023-09-05T16:27:44.968" v="12234"/>
          <ac:spMkLst>
            <pc:docMk/>
            <pc:sldMk cId="99080806" sldId="298"/>
            <ac:spMk id="258" creationId="{754707E0-271A-3ED1-B643-A2CC6DC9E486}"/>
          </ac:spMkLst>
        </pc:spChg>
        <pc:graphicFrameChg chg="add del mod ord replST">
          <ac:chgData name="Guinn, Sarah" userId="63e3ce5a-fcc6-474a-b3de-375720223e75" providerId="ADAL" clId="{D0183198-7876-4C7A-B1BE-BCAB6AE57610}" dt="2023-09-05T16:16:18.719" v="552"/>
          <ac:graphicFrameMkLst>
            <pc:docMk/>
            <pc:sldMk cId="99080806" sldId="298"/>
            <ac:graphicFrameMk id="18" creationId="{16EB500C-B866-DC40-F090-2558385A4744}"/>
          </ac:graphicFrameMkLst>
        </pc:graphicFrameChg>
        <pc:graphicFrameChg chg="add mod ord modVis replST">
          <ac:chgData name="Guinn, Sarah" userId="63e3ce5a-fcc6-474a-b3de-375720223e75" providerId="ADAL" clId="{D0183198-7876-4C7A-B1BE-BCAB6AE57610}" dt="2023-09-05T16:27:49.175" v="12248"/>
          <ac:graphicFrameMkLst>
            <pc:docMk/>
            <pc:sldMk cId="99080806" sldId="298"/>
            <ac:graphicFrameMk id="19" creationId="{325A9422-4AF2-6509-439E-B9984AAE940F}"/>
          </ac:graphicFrameMkLst>
        </pc:graphicFrameChg>
        <pc:graphicFrameChg chg="add del mod ord replST">
          <ac:chgData name="Guinn, Sarah" userId="63e3ce5a-fcc6-474a-b3de-375720223e75" providerId="ADAL" clId="{D0183198-7876-4C7A-B1BE-BCAB6AE57610}" dt="2023-09-05T16:16:20.116" v="627"/>
          <ac:graphicFrameMkLst>
            <pc:docMk/>
            <pc:sldMk cId="99080806" sldId="298"/>
            <ac:graphicFrameMk id="21" creationId="{AAF4C768-8372-878B-D2A4-0BD48B75B3FD}"/>
          </ac:graphicFrameMkLst>
        </pc:graphicFrameChg>
        <pc:graphicFrameChg chg="add del mod ord replST">
          <ac:chgData name="Guinn, Sarah" userId="63e3ce5a-fcc6-474a-b3de-375720223e75" providerId="ADAL" clId="{D0183198-7876-4C7A-B1BE-BCAB6AE57610}" dt="2023-09-05T16:16:21.150" v="670"/>
          <ac:graphicFrameMkLst>
            <pc:docMk/>
            <pc:sldMk cId="99080806" sldId="298"/>
            <ac:graphicFrameMk id="23" creationId="{88AEA480-8C53-66FB-0CE7-A8D6CA20754E}"/>
          </ac:graphicFrameMkLst>
        </pc:graphicFrameChg>
        <pc:graphicFrameChg chg="add del mod ord replST">
          <ac:chgData name="Guinn, Sarah" userId="63e3ce5a-fcc6-474a-b3de-375720223e75" providerId="ADAL" clId="{D0183198-7876-4C7A-B1BE-BCAB6AE57610}" dt="2023-09-05T16:16:22.012" v="750"/>
          <ac:graphicFrameMkLst>
            <pc:docMk/>
            <pc:sldMk cId="99080806" sldId="298"/>
            <ac:graphicFrameMk id="24" creationId="{1C8ABD53-84B0-4442-356C-4B514CF80517}"/>
          </ac:graphicFrameMkLst>
        </pc:graphicFrameChg>
        <pc:graphicFrameChg chg="add del mod ord replST">
          <ac:chgData name="Guinn, Sarah" userId="63e3ce5a-fcc6-474a-b3de-375720223e75" providerId="ADAL" clId="{D0183198-7876-4C7A-B1BE-BCAB6AE57610}" dt="2023-09-05T16:16:22.509" v="803"/>
          <ac:graphicFrameMkLst>
            <pc:docMk/>
            <pc:sldMk cId="99080806" sldId="298"/>
            <ac:graphicFrameMk id="26" creationId="{214D111A-8A0B-BD6E-4468-7F0314DA8FB5}"/>
          </ac:graphicFrameMkLst>
        </pc:graphicFrameChg>
        <pc:graphicFrameChg chg="add del mod ord replST">
          <ac:chgData name="Guinn, Sarah" userId="63e3ce5a-fcc6-474a-b3de-375720223e75" providerId="ADAL" clId="{D0183198-7876-4C7A-B1BE-BCAB6AE57610}" dt="2023-09-05T16:16:24.170" v="842"/>
          <ac:graphicFrameMkLst>
            <pc:docMk/>
            <pc:sldMk cId="99080806" sldId="298"/>
            <ac:graphicFrameMk id="27" creationId="{5A833C65-2A60-2EFD-E3DF-702CDB23CCC3}"/>
          </ac:graphicFrameMkLst>
        </pc:graphicFrameChg>
        <pc:graphicFrameChg chg="add del mod ord replST">
          <ac:chgData name="Guinn, Sarah" userId="63e3ce5a-fcc6-474a-b3de-375720223e75" providerId="ADAL" clId="{D0183198-7876-4C7A-B1BE-BCAB6AE57610}" dt="2023-09-05T16:17:04.957" v="911"/>
          <ac:graphicFrameMkLst>
            <pc:docMk/>
            <pc:sldMk cId="99080806" sldId="298"/>
            <ac:graphicFrameMk id="28" creationId="{2603A9B8-5ED1-C6CC-5961-7FA63AC12CA9}"/>
          </ac:graphicFrameMkLst>
        </pc:graphicFrameChg>
        <pc:graphicFrameChg chg="add del mod ord replST">
          <ac:chgData name="Guinn, Sarah" userId="63e3ce5a-fcc6-474a-b3de-375720223e75" providerId="ADAL" clId="{D0183198-7876-4C7A-B1BE-BCAB6AE57610}" dt="2023-09-05T16:17:21.315" v="975"/>
          <ac:graphicFrameMkLst>
            <pc:docMk/>
            <pc:sldMk cId="99080806" sldId="298"/>
            <ac:graphicFrameMk id="30" creationId="{C47C87AF-0CC0-FCF9-2A62-14745912FCF6}"/>
          </ac:graphicFrameMkLst>
        </pc:graphicFrameChg>
        <pc:graphicFrameChg chg="add del mod ord replST">
          <ac:chgData name="Guinn, Sarah" userId="63e3ce5a-fcc6-474a-b3de-375720223e75" providerId="ADAL" clId="{D0183198-7876-4C7A-B1BE-BCAB6AE57610}" dt="2023-09-05T16:18:08.424" v="1043"/>
          <ac:graphicFrameMkLst>
            <pc:docMk/>
            <pc:sldMk cId="99080806" sldId="298"/>
            <ac:graphicFrameMk id="32" creationId="{9619EC06-72D6-389D-D3E7-D44CDFFA39FA}"/>
          </ac:graphicFrameMkLst>
        </pc:graphicFrameChg>
        <pc:graphicFrameChg chg="add del mod ord replST">
          <ac:chgData name="Guinn, Sarah" userId="63e3ce5a-fcc6-474a-b3de-375720223e75" providerId="ADAL" clId="{D0183198-7876-4C7A-B1BE-BCAB6AE57610}" dt="2023-09-05T16:18:14.511" v="1121"/>
          <ac:graphicFrameMkLst>
            <pc:docMk/>
            <pc:sldMk cId="99080806" sldId="298"/>
            <ac:graphicFrameMk id="34" creationId="{B02C5164-4962-C77E-F5F6-0E65D20F9162}"/>
          </ac:graphicFrameMkLst>
        </pc:graphicFrameChg>
        <pc:graphicFrameChg chg="add del mod ord replST">
          <ac:chgData name="Guinn, Sarah" userId="63e3ce5a-fcc6-474a-b3de-375720223e75" providerId="ADAL" clId="{D0183198-7876-4C7A-B1BE-BCAB6AE57610}" dt="2023-09-05T16:18:18.567" v="1199"/>
          <ac:graphicFrameMkLst>
            <pc:docMk/>
            <pc:sldMk cId="99080806" sldId="298"/>
            <ac:graphicFrameMk id="37" creationId="{2594E29C-0701-56E2-6F8C-F425FDE99EBF}"/>
          </ac:graphicFrameMkLst>
        </pc:graphicFrameChg>
        <pc:graphicFrameChg chg="add del mod ord replST">
          <ac:chgData name="Guinn, Sarah" userId="63e3ce5a-fcc6-474a-b3de-375720223e75" providerId="ADAL" clId="{D0183198-7876-4C7A-B1BE-BCAB6AE57610}" dt="2023-09-05T16:18:24.694" v="1281"/>
          <ac:graphicFrameMkLst>
            <pc:docMk/>
            <pc:sldMk cId="99080806" sldId="298"/>
            <ac:graphicFrameMk id="40" creationId="{73C183A8-1BB3-856B-D225-06303DA1EFBA}"/>
          </ac:graphicFrameMkLst>
        </pc:graphicFrameChg>
        <pc:graphicFrameChg chg="add del mod ord replST">
          <ac:chgData name="Guinn, Sarah" userId="63e3ce5a-fcc6-474a-b3de-375720223e75" providerId="ADAL" clId="{D0183198-7876-4C7A-B1BE-BCAB6AE57610}" dt="2023-09-05T16:18:31.951" v="1367"/>
          <ac:graphicFrameMkLst>
            <pc:docMk/>
            <pc:sldMk cId="99080806" sldId="298"/>
            <ac:graphicFrameMk id="43" creationId="{1165D0A4-9551-3135-958F-A32C5D7EFAE4}"/>
          </ac:graphicFrameMkLst>
        </pc:graphicFrameChg>
        <pc:graphicFrameChg chg="add del mod ord replST">
          <ac:chgData name="Guinn, Sarah" userId="63e3ce5a-fcc6-474a-b3de-375720223e75" providerId="ADAL" clId="{D0183198-7876-4C7A-B1BE-BCAB6AE57610}" dt="2023-09-05T16:18:34.245" v="1443"/>
          <ac:graphicFrameMkLst>
            <pc:docMk/>
            <pc:sldMk cId="99080806" sldId="298"/>
            <ac:graphicFrameMk id="46" creationId="{B471BBA6-2CEE-3926-D2F2-7B3A28616813}"/>
          </ac:graphicFrameMkLst>
        </pc:graphicFrameChg>
        <pc:graphicFrameChg chg="add del mod ord replST">
          <ac:chgData name="Guinn, Sarah" userId="63e3ce5a-fcc6-474a-b3de-375720223e75" providerId="ADAL" clId="{D0183198-7876-4C7A-B1BE-BCAB6AE57610}" dt="2023-09-05T16:18:35.918" v="1519"/>
          <ac:graphicFrameMkLst>
            <pc:docMk/>
            <pc:sldMk cId="99080806" sldId="298"/>
            <ac:graphicFrameMk id="48" creationId="{CF7FB45E-A588-2844-570B-4DBCEC0FFAD5}"/>
          </ac:graphicFrameMkLst>
        </pc:graphicFrameChg>
        <pc:graphicFrameChg chg="add del mod ord replST">
          <ac:chgData name="Guinn, Sarah" userId="63e3ce5a-fcc6-474a-b3de-375720223e75" providerId="ADAL" clId="{D0183198-7876-4C7A-B1BE-BCAB6AE57610}" dt="2023-09-05T16:19:16.717" v="1579"/>
          <ac:graphicFrameMkLst>
            <pc:docMk/>
            <pc:sldMk cId="99080806" sldId="298"/>
            <ac:graphicFrameMk id="50" creationId="{DA3BCC14-22DA-5C20-0630-5EE6E31AE7A3}"/>
          </ac:graphicFrameMkLst>
        </pc:graphicFrameChg>
        <pc:graphicFrameChg chg="add del mod ord replST">
          <ac:chgData name="Guinn, Sarah" userId="63e3ce5a-fcc6-474a-b3de-375720223e75" providerId="ADAL" clId="{D0183198-7876-4C7A-B1BE-BCAB6AE57610}" dt="2023-09-05T16:19:26.661" v="1639"/>
          <ac:graphicFrameMkLst>
            <pc:docMk/>
            <pc:sldMk cId="99080806" sldId="298"/>
            <ac:graphicFrameMk id="52" creationId="{73B9C1FA-82AF-9B48-A678-C83D853F2902}"/>
          </ac:graphicFrameMkLst>
        </pc:graphicFrameChg>
        <pc:graphicFrameChg chg="add del mod ord replST">
          <ac:chgData name="Guinn, Sarah" userId="63e3ce5a-fcc6-474a-b3de-375720223e75" providerId="ADAL" clId="{D0183198-7876-4C7A-B1BE-BCAB6AE57610}" dt="2023-09-05T16:19:39.118" v="1717"/>
          <ac:graphicFrameMkLst>
            <pc:docMk/>
            <pc:sldMk cId="99080806" sldId="298"/>
            <ac:graphicFrameMk id="54" creationId="{1EB184CD-BAB0-2440-7444-69CEFD8EB338}"/>
          </ac:graphicFrameMkLst>
        </pc:graphicFrameChg>
        <pc:graphicFrameChg chg="add del mod ord replST">
          <ac:chgData name="Guinn, Sarah" userId="63e3ce5a-fcc6-474a-b3de-375720223e75" providerId="ADAL" clId="{D0183198-7876-4C7A-B1BE-BCAB6AE57610}" dt="2023-09-05T16:19:42.666" v="1793"/>
          <ac:graphicFrameMkLst>
            <pc:docMk/>
            <pc:sldMk cId="99080806" sldId="298"/>
            <ac:graphicFrameMk id="56" creationId="{6D73E417-F792-3E34-5329-DD5B5B0306DE}"/>
          </ac:graphicFrameMkLst>
        </pc:graphicFrameChg>
        <pc:graphicFrameChg chg="add del mod ord replST">
          <ac:chgData name="Guinn, Sarah" userId="63e3ce5a-fcc6-474a-b3de-375720223e75" providerId="ADAL" clId="{D0183198-7876-4C7A-B1BE-BCAB6AE57610}" dt="2023-09-05T16:19:45.223" v="1853"/>
          <ac:graphicFrameMkLst>
            <pc:docMk/>
            <pc:sldMk cId="99080806" sldId="298"/>
            <ac:graphicFrameMk id="58" creationId="{F4641F40-8D8F-E8A3-4160-3C66FA5F815E}"/>
          </ac:graphicFrameMkLst>
        </pc:graphicFrameChg>
        <pc:graphicFrameChg chg="add del mod ord replST">
          <ac:chgData name="Guinn, Sarah" userId="63e3ce5a-fcc6-474a-b3de-375720223e75" providerId="ADAL" clId="{D0183198-7876-4C7A-B1BE-BCAB6AE57610}" dt="2023-09-05T16:19:48.564" v="1913"/>
          <ac:graphicFrameMkLst>
            <pc:docMk/>
            <pc:sldMk cId="99080806" sldId="298"/>
            <ac:graphicFrameMk id="60" creationId="{AC932F4E-54FF-3226-EA37-2558D0722A9C}"/>
          </ac:graphicFrameMkLst>
        </pc:graphicFrameChg>
        <pc:graphicFrameChg chg="add del mod ord replST">
          <ac:chgData name="Guinn, Sarah" userId="63e3ce5a-fcc6-474a-b3de-375720223e75" providerId="ADAL" clId="{D0183198-7876-4C7A-B1BE-BCAB6AE57610}" dt="2023-09-05T16:19:50.646" v="1973"/>
          <ac:graphicFrameMkLst>
            <pc:docMk/>
            <pc:sldMk cId="99080806" sldId="298"/>
            <ac:graphicFrameMk id="62" creationId="{D9BFFF44-5F2B-5015-D46C-DB306FEF9373}"/>
          </ac:graphicFrameMkLst>
        </pc:graphicFrameChg>
        <pc:graphicFrameChg chg="add del mod ord replST">
          <ac:chgData name="Guinn, Sarah" userId="63e3ce5a-fcc6-474a-b3de-375720223e75" providerId="ADAL" clId="{D0183198-7876-4C7A-B1BE-BCAB6AE57610}" dt="2023-09-05T16:19:55.244" v="2345"/>
          <ac:graphicFrameMkLst>
            <pc:docMk/>
            <pc:sldMk cId="99080806" sldId="298"/>
            <ac:graphicFrameMk id="64" creationId="{4DD3B0AC-6EFB-D4D6-1E1C-5B9852AB35A0}"/>
          </ac:graphicFrameMkLst>
        </pc:graphicFrameChg>
        <pc:graphicFrameChg chg="add del mod ord replST">
          <ac:chgData name="Guinn, Sarah" userId="63e3ce5a-fcc6-474a-b3de-375720223e75" providerId="ADAL" clId="{D0183198-7876-4C7A-B1BE-BCAB6AE57610}" dt="2023-09-05T16:20:13.651" v="2453"/>
          <ac:graphicFrameMkLst>
            <pc:docMk/>
            <pc:sldMk cId="99080806" sldId="298"/>
            <ac:graphicFrameMk id="74" creationId="{AF19EA7F-197D-98DC-5164-7C1C6C05AF7D}"/>
          </ac:graphicFrameMkLst>
        </pc:graphicFrameChg>
        <pc:graphicFrameChg chg="add del mod ord replST">
          <ac:chgData name="Guinn, Sarah" userId="63e3ce5a-fcc6-474a-b3de-375720223e75" providerId="ADAL" clId="{D0183198-7876-4C7A-B1BE-BCAB6AE57610}" dt="2023-09-05T16:20:17.060" v="2545"/>
          <ac:graphicFrameMkLst>
            <pc:docMk/>
            <pc:sldMk cId="99080806" sldId="298"/>
            <ac:graphicFrameMk id="76" creationId="{EB605728-712E-B984-508E-A0E39A0E6549}"/>
          </ac:graphicFrameMkLst>
        </pc:graphicFrameChg>
        <pc:graphicFrameChg chg="add del mod ord replST">
          <ac:chgData name="Guinn, Sarah" userId="63e3ce5a-fcc6-474a-b3de-375720223e75" providerId="ADAL" clId="{D0183198-7876-4C7A-B1BE-BCAB6AE57610}" dt="2023-09-05T16:20:20.236" v="2685"/>
          <ac:graphicFrameMkLst>
            <pc:docMk/>
            <pc:sldMk cId="99080806" sldId="298"/>
            <ac:graphicFrameMk id="78" creationId="{A17DE3E7-A813-0CE3-5515-D9C54BB613CA}"/>
          </ac:graphicFrameMkLst>
        </pc:graphicFrameChg>
        <pc:graphicFrameChg chg="add del mod ord replST">
          <ac:chgData name="Guinn, Sarah" userId="63e3ce5a-fcc6-474a-b3de-375720223e75" providerId="ADAL" clId="{D0183198-7876-4C7A-B1BE-BCAB6AE57610}" dt="2023-09-05T16:20:22.187" v="2806"/>
          <ac:graphicFrameMkLst>
            <pc:docMk/>
            <pc:sldMk cId="99080806" sldId="298"/>
            <ac:graphicFrameMk id="81" creationId="{3168859F-5F71-2B0F-C64E-EEEF26457C9A}"/>
          </ac:graphicFrameMkLst>
        </pc:graphicFrameChg>
        <pc:graphicFrameChg chg="add del mod ord replST">
          <ac:chgData name="Guinn, Sarah" userId="63e3ce5a-fcc6-474a-b3de-375720223e75" providerId="ADAL" clId="{D0183198-7876-4C7A-B1BE-BCAB6AE57610}" dt="2023-09-05T16:20:25.172" v="2930"/>
          <ac:graphicFrameMkLst>
            <pc:docMk/>
            <pc:sldMk cId="99080806" sldId="298"/>
            <ac:graphicFrameMk id="84" creationId="{A729B65C-F4E3-AB7C-7493-029337F4DDB7}"/>
          </ac:graphicFrameMkLst>
        </pc:graphicFrameChg>
        <pc:graphicFrameChg chg="add del mod ord replST">
          <ac:chgData name="Guinn, Sarah" userId="63e3ce5a-fcc6-474a-b3de-375720223e75" providerId="ADAL" clId="{D0183198-7876-4C7A-B1BE-BCAB6AE57610}" dt="2023-09-05T16:21:40.405" v="3992"/>
          <ac:graphicFrameMkLst>
            <pc:docMk/>
            <pc:sldMk cId="99080806" sldId="298"/>
            <ac:graphicFrameMk id="87" creationId="{541B82FD-EFB6-27AF-4BF2-5F2D80720981}"/>
          </ac:graphicFrameMkLst>
        </pc:graphicFrameChg>
        <pc:graphicFrameChg chg="add del mod ord replST">
          <ac:chgData name="Guinn, Sarah" userId="63e3ce5a-fcc6-474a-b3de-375720223e75" providerId="ADAL" clId="{D0183198-7876-4C7A-B1BE-BCAB6AE57610}" dt="2023-09-05T16:20:59.783" v="3559"/>
          <ac:graphicFrameMkLst>
            <pc:docMk/>
            <pc:sldMk cId="99080806" sldId="298"/>
            <ac:graphicFrameMk id="94" creationId="{9EB02F4E-B4E3-D12E-8BF1-F5D0D8549F14}"/>
          </ac:graphicFrameMkLst>
        </pc:graphicFrameChg>
        <pc:graphicFrameChg chg="add del mod ord replST">
          <ac:chgData name="Guinn, Sarah" userId="63e3ce5a-fcc6-474a-b3de-375720223e75" providerId="ADAL" clId="{D0183198-7876-4C7A-B1BE-BCAB6AE57610}" dt="2023-09-05T16:21:05.759" v="3907"/>
          <ac:graphicFrameMkLst>
            <pc:docMk/>
            <pc:sldMk cId="99080806" sldId="298"/>
            <ac:graphicFrameMk id="105" creationId="{C65DEA25-AE93-85AB-ED34-8340824FC46B}"/>
          </ac:graphicFrameMkLst>
        </pc:graphicFrameChg>
        <pc:graphicFrameChg chg="add del mod ord replST">
          <ac:chgData name="Guinn, Sarah" userId="63e3ce5a-fcc6-474a-b3de-375720223e75" providerId="ADAL" clId="{D0183198-7876-4C7A-B1BE-BCAB6AE57610}" dt="2023-09-05T16:21:42.663" v="4031"/>
          <ac:graphicFrameMkLst>
            <pc:docMk/>
            <pc:sldMk cId="99080806" sldId="298"/>
            <ac:graphicFrameMk id="110" creationId="{161FA530-09D4-A341-0689-DABFC5B6C596}"/>
          </ac:graphicFrameMkLst>
        </pc:graphicFrameChg>
        <pc:graphicFrameChg chg="add del mod ord replST">
          <ac:chgData name="Guinn, Sarah" userId="63e3ce5a-fcc6-474a-b3de-375720223e75" providerId="ADAL" clId="{D0183198-7876-4C7A-B1BE-BCAB6AE57610}" dt="2023-09-05T16:21:53.272" v="4097"/>
          <ac:graphicFrameMkLst>
            <pc:docMk/>
            <pc:sldMk cId="99080806" sldId="298"/>
            <ac:graphicFrameMk id="111" creationId="{94368E4B-9DAF-A632-9AD4-ED04C6C75690}"/>
          </ac:graphicFrameMkLst>
        </pc:graphicFrameChg>
        <pc:graphicFrameChg chg="add del mod ord replST">
          <ac:chgData name="Guinn, Sarah" userId="63e3ce5a-fcc6-474a-b3de-375720223e75" providerId="ADAL" clId="{D0183198-7876-4C7A-B1BE-BCAB6AE57610}" dt="2023-09-05T16:21:55.320" v="4160"/>
          <ac:graphicFrameMkLst>
            <pc:docMk/>
            <pc:sldMk cId="99080806" sldId="298"/>
            <ac:graphicFrameMk id="112" creationId="{56FB39D5-F8EF-C294-5AE0-F6B2F5F8D297}"/>
          </ac:graphicFrameMkLst>
        </pc:graphicFrameChg>
        <pc:graphicFrameChg chg="add del mod ord replST">
          <ac:chgData name="Guinn, Sarah" userId="63e3ce5a-fcc6-474a-b3de-375720223e75" providerId="ADAL" clId="{D0183198-7876-4C7A-B1BE-BCAB6AE57610}" dt="2023-09-05T16:22:13.084" v="4554"/>
          <ac:graphicFrameMkLst>
            <pc:docMk/>
            <pc:sldMk cId="99080806" sldId="298"/>
            <ac:graphicFrameMk id="113" creationId="{3F40A5B2-6B7F-4182-0EB8-B8843F3D086C}"/>
          </ac:graphicFrameMkLst>
        </pc:graphicFrameChg>
        <pc:graphicFrameChg chg="add del mod replST">
          <ac:chgData name="Guinn, Sarah" userId="63e3ce5a-fcc6-474a-b3de-375720223e75" providerId="ADAL" clId="{D0183198-7876-4C7A-B1BE-BCAB6AE57610}" dt="2023-09-05T16:22:01.019" v="4443"/>
          <ac:graphicFrameMkLst>
            <pc:docMk/>
            <pc:sldMk cId="99080806" sldId="298"/>
            <ac:graphicFrameMk id="114" creationId="{C1D7E141-C85B-32B7-5D08-DA8708DEEDFB}"/>
          </ac:graphicFrameMkLst>
        </pc:graphicFrameChg>
        <pc:graphicFrameChg chg="add del mod ord replST">
          <ac:chgData name="Guinn, Sarah" userId="63e3ce5a-fcc6-474a-b3de-375720223e75" providerId="ADAL" clId="{D0183198-7876-4C7A-B1BE-BCAB6AE57610}" dt="2023-09-05T16:22:25.720" v="4627"/>
          <ac:graphicFrameMkLst>
            <pc:docMk/>
            <pc:sldMk cId="99080806" sldId="298"/>
            <ac:graphicFrameMk id="127" creationId="{E4AF46B4-1FD4-C73D-01AF-D4548799176C}"/>
          </ac:graphicFrameMkLst>
        </pc:graphicFrameChg>
        <pc:graphicFrameChg chg="add del mod ord replST">
          <ac:chgData name="Guinn, Sarah" userId="63e3ce5a-fcc6-474a-b3de-375720223e75" providerId="ADAL" clId="{D0183198-7876-4C7A-B1BE-BCAB6AE57610}" dt="2023-09-05T16:22:41.913" v="4732"/>
          <ac:graphicFrameMkLst>
            <pc:docMk/>
            <pc:sldMk cId="99080806" sldId="298"/>
            <ac:graphicFrameMk id="128" creationId="{A8B91E9F-AFA6-78E1-B64F-CAB5087DBC09}"/>
          </ac:graphicFrameMkLst>
        </pc:graphicFrameChg>
        <pc:graphicFrameChg chg="add del mod ord replST">
          <ac:chgData name="Guinn, Sarah" userId="63e3ce5a-fcc6-474a-b3de-375720223e75" providerId="ADAL" clId="{D0183198-7876-4C7A-B1BE-BCAB6AE57610}" dt="2023-09-05T16:23:21.785" v="7165"/>
          <ac:graphicFrameMkLst>
            <pc:docMk/>
            <pc:sldMk cId="99080806" sldId="298"/>
            <ac:graphicFrameMk id="129" creationId="{9ADE8A3B-6FCF-1BE6-7F1B-E95CBCA12483}"/>
          </ac:graphicFrameMkLst>
        </pc:graphicFrameChg>
        <pc:graphicFrameChg chg="add del mod ord replST">
          <ac:chgData name="Guinn, Sarah" userId="63e3ce5a-fcc6-474a-b3de-375720223e75" providerId="ADAL" clId="{D0183198-7876-4C7A-B1BE-BCAB6AE57610}" dt="2023-09-05T16:22:51.915" v="4832"/>
          <ac:graphicFrameMkLst>
            <pc:docMk/>
            <pc:sldMk cId="99080806" sldId="298"/>
            <ac:graphicFrameMk id="130" creationId="{3E878C2D-C6C8-5C24-51B3-4241BA6E7699}"/>
          </ac:graphicFrameMkLst>
        </pc:graphicFrameChg>
        <pc:graphicFrameChg chg="add del mod ord replST">
          <ac:chgData name="Guinn, Sarah" userId="63e3ce5a-fcc6-474a-b3de-375720223e75" providerId="ADAL" clId="{D0183198-7876-4C7A-B1BE-BCAB6AE57610}" dt="2023-09-05T16:22:54.510" v="5329"/>
          <ac:graphicFrameMkLst>
            <pc:docMk/>
            <pc:sldMk cId="99080806" sldId="298"/>
            <ac:graphicFrameMk id="132" creationId="{E6AEE57E-6E6E-8634-C582-A1075C69D8C0}"/>
          </ac:graphicFrameMkLst>
        </pc:graphicFrameChg>
        <pc:graphicFrameChg chg="add del mod ord replST">
          <ac:chgData name="Guinn, Sarah" userId="63e3ce5a-fcc6-474a-b3de-375720223e75" providerId="ADAL" clId="{D0183198-7876-4C7A-B1BE-BCAB6AE57610}" dt="2023-09-05T16:22:55.292" v="5444"/>
          <ac:graphicFrameMkLst>
            <pc:docMk/>
            <pc:sldMk cId="99080806" sldId="298"/>
            <ac:graphicFrameMk id="143" creationId="{10023413-6749-2497-4C15-3C51162FFB24}"/>
          </ac:graphicFrameMkLst>
        </pc:graphicFrameChg>
        <pc:graphicFrameChg chg="add del mod ord replST">
          <ac:chgData name="Guinn, Sarah" userId="63e3ce5a-fcc6-474a-b3de-375720223e75" providerId="ADAL" clId="{D0183198-7876-4C7A-B1BE-BCAB6AE57610}" dt="2023-09-05T16:22:56.028" v="5941"/>
          <ac:graphicFrameMkLst>
            <pc:docMk/>
            <pc:sldMk cId="99080806" sldId="298"/>
            <ac:graphicFrameMk id="145" creationId="{70CEF006-219C-770A-48AF-D748771FFE3E}"/>
          </ac:graphicFrameMkLst>
        </pc:graphicFrameChg>
        <pc:graphicFrameChg chg="add del mod ord replST">
          <ac:chgData name="Guinn, Sarah" userId="63e3ce5a-fcc6-474a-b3de-375720223e75" providerId="ADAL" clId="{D0183198-7876-4C7A-B1BE-BCAB6AE57610}" dt="2023-09-05T16:22:57.138" v="6047"/>
          <ac:graphicFrameMkLst>
            <pc:docMk/>
            <pc:sldMk cId="99080806" sldId="298"/>
            <ac:graphicFrameMk id="156" creationId="{61A5423F-ABEC-2AA6-D85D-049C839F974E}"/>
          </ac:graphicFrameMkLst>
        </pc:graphicFrameChg>
        <pc:graphicFrameChg chg="add del mod ord replST">
          <ac:chgData name="Guinn, Sarah" userId="63e3ce5a-fcc6-474a-b3de-375720223e75" providerId="ADAL" clId="{D0183198-7876-4C7A-B1BE-BCAB6AE57610}" dt="2023-09-05T16:23:07.879" v="6846"/>
          <ac:graphicFrameMkLst>
            <pc:docMk/>
            <pc:sldMk cId="99080806" sldId="298"/>
            <ac:graphicFrameMk id="158" creationId="{82C75BD5-7E0E-FFA5-71B9-4E46E3663F8F}"/>
          </ac:graphicFrameMkLst>
        </pc:graphicFrameChg>
        <pc:graphicFrameChg chg="add del mod ord replST delST">
          <ac:chgData name="Guinn, Sarah" userId="63e3ce5a-fcc6-474a-b3de-375720223e75" providerId="ADAL" clId="{D0183198-7876-4C7A-B1BE-BCAB6AE57610}" dt="2023-09-05T16:23:05.937" v="6610" actId="1076"/>
          <ac:graphicFrameMkLst>
            <pc:docMk/>
            <pc:sldMk cId="99080806" sldId="298"/>
            <ac:graphicFrameMk id="160" creationId="{22FF14C0-A1E9-0D71-CC92-33304EAC2578}"/>
          </ac:graphicFrameMkLst>
        </pc:graphicFrameChg>
        <pc:graphicFrameChg chg="add del mod ord replST delST">
          <ac:chgData name="Guinn, Sarah" userId="63e3ce5a-fcc6-474a-b3de-375720223e75" providerId="ADAL" clId="{D0183198-7876-4C7A-B1BE-BCAB6AE57610}" dt="2023-09-05T16:23:05.894" v="6562" actId="1076"/>
          <ac:graphicFrameMkLst>
            <pc:docMk/>
            <pc:sldMk cId="99080806" sldId="298"/>
            <ac:graphicFrameMk id="162" creationId="{9A1697DF-BFB0-D736-FEEE-6A8C1E58193C}"/>
          </ac:graphicFrameMkLst>
        </pc:graphicFrameChg>
        <pc:graphicFrameChg chg="add mod ord replST delST">
          <ac:chgData name="Guinn, Sarah" userId="63e3ce5a-fcc6-474a-b3de-375720223e75" providerId="ADAL" clId="{D0183198-7876-4C7A-B1BE-BCAB6AE57610}" dt="2023-09-05T16:23:05.852" v="6514" actId="1076"/>
          <ac:graphicFrameMkLst>
            <pc:docMk/>
            <pc:sldMk cId="99080806" sldId="298"/>
            <ac:graphicFrameMk id="164" creationId="{2233CA1F-BE87-34B8-0787-4BFA8EE98A4E}"/>
          </ac:graphicFrameMkLst>
        </pc:graphicFrameChg>
        <pc:graphicFrameChg chg="add del mod ord replST">
          <ac:chgData name="Guinn, Sarah" userId="63e3ce5a-fcc6-474a-b3de-375720223e75" providerId="ADAL" clId="{D0183198-7876-4C7A-B1BE-BCAB6AE57610}" dt="2023-09-05T16:23:16.891" v="6952"/>
          <ac:graphicFrameMkLst>
            <pc:docMk/>
            <pc:sldMk cId="99080806" sldId="298"/>
            <ac:graphicFrameMk id="166" creationId="{90E08FDF-D63F-B8CD-8471-D4CED0597433}"/>
          </ac:graphicFrameMkLst>
        </pc:graphicFrameChg>
        <pc:graphicFrameChg chg="add del mod ord replST">
          <ac:chgData name="Guinn, Sarah" userId="63e3ce5a-fcc6-474a-b3de-375720223e75" providerId="ADAL" clId="{D0183198-7876-4C7A-B1BE-BCAB6AE57610}" dt="2023-09-05T16:23:39.254" v="7605"/>
          <ac:graphicFrameMkLst>
            <pc:docMk/>
            <pc:sldMk cId="99080806" sldId="298"/>
            <ac:graphicFrameMk id="168" creationId="{FA158C4B-2A40-D367-A042-192CC890E32D}"/>
          </ac:graphicFrameMkLst>
        </pc:graphicFrameChg>
        <pc:graphicFrameChg chg="add del mod ord replST">
          <ac:chgData name="Guinn, Sarah" userId="63e3ce5a-fcc6-474a-b3de-375720223e75" providerId="ADAL" clId="{D0183198-7876-4C7A-B1BE-BCAB6AE57610}" dt="2023-09-05T16:23:23.534" v="7225"/>
          <ac:graphicFrameMkLst>
            <pc:docMk/>
            <pc:sldMk cId="99080806" sldId="298"/>
            <ac:graphicFrameMk id="171" creationId="{320313F4-957E-7B55-9F90-503FF2D4DC07}"/>
          </ac:graphicFrameMkLst>
        </pc:graphicFrameChg>
        <pc:graphicFrameChg chg="add del mod ord replST">
          <ac:chgData name="Guinn, Sarah" userId="63e3ce5a-fcc6-474a-b3de-375720223e75" providerId="ADAL" clId="{D0183198-7876-4C7A-B1BE-BCAB6AE57610}" dt="2023-09-05T16:23:25.772" v="7294"/>
          <ac:graphicFrameMkLst>
            <pc:docMk/>
            <pc:sldMk cId="99080806" sldId="298"/>
            <ac:graphicFrameMk id="172" creationId="{782D2BF0-10D5-6959-C440-32327B99A4D4}"/>
          </ac:graphicFrameMkLst>
        </pc:graphicFrameChg>
        <pc:graphicFrameChg chg="add del mod ord replST">
          <ac:chgData name="Guinn, Sarah" userId="63e3ce5a-fcc6-474a-b3de-375720223e75" providerId="ADAL" clId="{D0183198-7876-4C7A-B1BE-BCAB6AE57610}" dt="2023-09-05T16:23:28.102" v="7363"/>
          <ac:graphicFrameMkLst>
            <pc:docMk/>
            <pc:sldMk cId="99080806" sldId="298"/>
            <ac:graphicFrameMk id="173" creationId="{7E5C2988-ABAF-E1FC-52DA-9214274CBE27}"/>
          </ac:graphicFrameMkLst>
        </pc:graphicFrameChg>
        <pc:graphicFrameChg chg="add del mod ord replST">
          <ac:chgData name="Guinn, Sarah" userId="63e3ce5a-fcc6-474a-b3de-375720223e75" providerId="ADAL" clId="{D0183198-7876-4C7A-B1BE-BCAB6AE57610}" dt="2023-09-05T16:23:31.172" v="7435"/>
          <ac:graphicFrameMkLst>
            <pc:docMk/>
            <pc:sldMk cId="99080806" sldId="298"/>
            <ac:graphicFrameMk id="174" creationId="{589287DA-534B-D55A-F224-27575E1A88BB}"/>
          </ac:graphicFrameMkLst>
        </pc:graphicFrameChg>
        <pc:graphicFrameChg chg="add del mod ord replST">
          <ac:chgData name="Guinn, Sarah" userId="63e3ce5a-fcc6-474a-b3de-375720223e75" providerId="ADAL" clId="{D0183198-7876-4C7A-B1BE-BCAB6AE57610}" dt="2023-09-05T16:23:34.664" v="7501"/>
          <ac:graphicFrameMkLst>
            <pc:docMk/>
            <pc:sldMk cId="99080806" sldId="298"/>
            <ac:graphicFrameMk id="175" creationId="{AB1E3A04-6496-1F19-1B18-A4C3D877309E}"/>
          </ac:graphicFrameMkLst>
        </pc:graphicFrameChg>
        <pc:graphicFrameChg chg="add del mod ord replST">
          <ac:chgData name="Guinn, Sarah" userId="63e3ce5a-fcc6-474a-b3de-375720223e75" providerId="ADAL" clId="{D0183198-7876-4C7A-B1BE-BCAB6AE57610}" dt="2023-09-05T16:23:55.589" v="8482"/>
          <ac:graphicFrameMkLst>
            <pc:docMk/>
            <pc:sldMk cId="99080806" sldId="298"/>
            <ac:graphicFrameMk id="176" creationId="{E44A0DCD-B3E4-23F1-F08D-9916EFB45807}"/>
          </ac:graphicFrameMkLst>
        </pc:graphicFrameChg>
        <pc:graphicFrameChg chg="add del mod ord replST">
          <ac:chgData name="Guinn, Sarah" userId="63e3ce5a-fcc6-474a-b3de-375720223e75" providerId="ADAL" clId="{D0183198-7876-4C7A-B1BE-BCAB6AE57610}" dt="2023-09-05T16:23:41.742" v="7708"/>
          <ac:graphicFrameMkLst>
            <pc:docMk/>
            <pc:sldMk cId="99080806" sldId="298"/>
            <ac:graphicFrameMk id="178" creationId="{A6DFA454-7E74-6D75-C262-E3A0FBF0C45F}"/>
          </ac:graphicFrameMkLst>
        </pc:graphicFrameChg>
        <pc:graphicFrameChg chg="add del mod ord replST">
          <ac:chgData name="Guinn, Sarah" userId="63e3ce5a-fcc6-474a-b3de-375720223e75" providerId="ADAL" clId="{D0183198-7876-4C7A-B1BE-BCAB6AE57610}" dt="2023-09-05T16:23:46.687" v="8164"/>
          <ac:graphicFrameMkLst>
            <pc:docMk/>
            <pc:sldMk cId="99080806" sldId="298"/>
            <ac:graphicFrameMk id="180" creationId="{D7B776B5-A2B6-7EFF-4F78-AAEF1C39F51A}"/>
          </ac:graphicFrameMkLst>
        </pc:graphicFrameChg>
        <pc:graphicFrameChg chg="add del mod ord replST">
          <ac:chgData name="Guinn, Sarah" userId="63e3ce5a-fcc6-474a-b3de-375720223e75" providerId="ADAL" clId="{D0183198-7876-4C7A-B1BE-BCAB6AE57610}" dt="2023-09-05T16:23:47.787" v="8280"/>
          <ac:graphicFrameMkLst>
            <pc:docMk/>
            <pc:sldMk cId="99080806" sldId="298"/>
            <ac:graphicFrameMk id="190" creationId="{516AB267-A921-03C5-4312-FA86D106BC63}"/>
          </ac:graphicFrameMkLst>
        </pc:graphicFrameChg>
        <pc:graphicFrameChg chg="add del mod ord replST">
          <ac:chgData name="Guinn, Sarah" userId="63e3ce5a-fcc6-474a-b3de-375720223e75" providerId="ADAL" clId="{D0183198-7876-4C7A-B1BE-BCAB6AE57610}" dt="2023-09-05T16:23:49.313" v="8374"/>
          <ac:graphicFrameMkLst>
            <pc:docMk/>
            <pc:sldMk cId="99080806" sldId="298"/>
            <ac:graphicFrameMk id="192" creationId="{E09A2F6C-DE9E-2F4A-287B-05DB0EC197C9}"/>
          </ac:graphicFrameMkLst>
        </pc:graphicFrameChg>
        <pc:graphicFrameChg chg="add del mod ord replST">
          <ac:chgData name="Guinn, Sarah" userId="63e3ce5a-fcc6-474a-b3de-375720223e75" providerId="ADAL" clId="{D0183198-7876-4C7A-B1BE-BCAB6AE57610}" dt="2023-09-05T16:24:10.253" v="8574"/>
          <ac:graphicFrameMkLst>
            <pc:docMk/>
            <pc:sldMk cId="99080806" sldId="298"/>
            <ac:graphicFrameMk id="194" creationId="{0AF2511E-24B7-01A6-1661-74DEDBC342F3}"/>
          </ac:graphicFrameMkLst>
        </pc:graphicFrameChg>
        <pc:graphicFrameChg chg="add del mod ord replST">
          <ac:chgData name="Guinn, Sarah" userId="63e3ce5a-fcc6-474a-b3de-375720223e75" providerId="ADAL" clId="{D0183198-7876-4C7A-B1BE-BCAB6AE57610}" dt="2023-09-05T16:24:48.077" v="9629"/>
          <ac:graphicFrameMkLst>
            <pc:docMk/>
            <pc:sldMk cId="99080806" sldId="298"/>
            <ac:graphicFrameMk id="196" creationId="{556D1A13-EA86-AA96-4D33-A131FB873805}"/>
          </ac:graphicFrameMkLst>
        </pc:graphicFrameChg>
        <pc:graphicFrameChg chg="add del mod ord replST">
          <ac:chgData name="Guinn, Sarah" userId="63e3ce5a-fcc6-474a-b3de-375720223e75" providerId="ADAL" clId="{D0183198-7876-4C7A-B1BE-BCAB6AE57610}" dt="2023-09-05T16:24:23.603" v="9205"/>
          <ac:graphicFrameMkLst>
            <pc:docMk/>
            <pc:sldMk cId="99080806" sldId="298"/>
            <ac:graphicFrameMk id="198" creationId="{C18BC133-79B8-A1C0-3B0F-3FA948C0015A}"/>
          </ac:graphicFrameMkLst>
        </pc:graphicFrameChg>
        <pc:graphicFrameChg chg="add mod ord replST delST">
          <ac:chgData name="Guinn, Sarah" userId="63e3ce5a-fcc6-474a-b3de-375720223e75" providerId="ADAL" clId="{D0183198-7876-4C7A-B1BE-BCAB6AE57610}" dt="2023-09-05T16:24:17.547" v="9039"/>
          <ac:graphicFrameMkLst>
            <pc:docMk/>
            <pc:sldMk cId="99080806" sldId="298"/>
            <ac:graphicFrameMk id="206" creationId="{9207E59C-4D56-2804-33AF-9E5DC99A36F5}"/>
          </ac:graphicFrameMkLst>
        </pc:graphicFrameChg>
        <pc:graphicFrameChg chg="add del mod ord replST">
          <ac:chgData name="Guinn, Sarah" userId="63e3ce5a-fcc6-474a-b3de-375720223e75" providerId="ADAL" clId="{D0183198-7876-4C7A-B1BE-BCAB6AE57610}" dt="2023-09-05T16:24:35" v="9299"/>
          <ac:graphicFrameMkLst>
            <pc:docMk/>
            <pc:sldMk cId="99080806" sldId="298"/>
            <ac:graphicFrameMk id="208" creationId="{83FDA254-4831-3302-CA00-12E3E74A29B8}"/>
          </ac:graphicFrameMkLst>
        </pc:graphicFrameChg>
        <pc:graphicFrameChg chg="add del mod ord replST">
          <ac:chgData name="Guinn, Sarah" userId="63e3ce5a-fcc6-474a-b3de-375720223e75" providerId="ADAL" clId="{D0183198-7876-4C7A-B1BE-BCAB6AE57610}" dt="2023-09-05T16:24:39.734" v="9394"/>
          <ac:graphicFrameMkLst>
            <pc:docMk/>
            <pc:sldMk cId="99080806" sldId="298"/>
            <ac:graphicFrameMk id="210" creationId="{9393BBA4-C3F1-2CC0-A103-E1CC6A0A05BE}"/>
          </ac:graphicFrameMkLst>
        </pc:graphicFrameChg>
        <pc:graphicFrameChg chg="add del mod ord replST">
          <ac:chgData name="Guinn, Sarah" userId="63e3ce5a-fcc6-474a-b3de-375720223e75" providerId="ADAL" clId="{D0183198-7876-4C7A-B1BE-BCAB6AE57610}" dt="2023-09-05T16:24:57.009" v="9761"/>
          <ac:graphicFrameMkLst>
            <pc:docMk/>
            <pc:sldMk cId="99080806" sldId="298"/>
            <ac:graphicFrameMk id="212" creationId="{516DA3EF-19C6-F0B1-DC5E-2BE2006EE75F}"/>
          </ac:graphicFrameMkLst>
        </pc:graphicFrameChg>
        <pc:graphicFrameChg chg="add del mod ord replST">
          <ac:chgData name="Guinn, Sarah" userId="63e3ce5a-fcc6-474a-b3de-375720223e75" providerId="ADAL" clId="{D0183198-7876-4C7A-B1BE-BCAB6AE57610}" dt="2023-09-05T16:26:54.851" v="11495"/>
          <ac:graphicFrameMkLst>
            <pc:docMk/>
            <pc:sldMk cId="99080806" sldId="298"/>
            <ac:graphicFrameMk id="214" creationId="{FEC7C3A5-C2EB-2DAB-29E8-E4ACFFE2DC60}"/>
          </ac:graphicFrameMkLst>
        </pc:graphicFrameChg>
        <pc:graphicFrameChg chg="add del mod ord replST">
          <ac:chgData name="Guinn, Sarah" userId="63e3ce5a-fcc6-474a-b3de-375720223e75" providerId="ADAL" clId="{D0183198-7876-4C7A-B1BE-BCAB6AE57610}" dt="2023-09-05T16:25:37.820" v="10170"/>
          <ac:graphicFrameMkLst>
            <pc:docMk/>
            <pc:sldMk cId="99080806" sldId="298"/>
            <ac:graphicFrameMk id="216" creationId="{69E0B087-1DC4-D620-323D-F948161CE3AF}"/>
          </ac:graphicFrameMkLst>
        </pc:graphicFrameChg>
        <pc:graphicFrameChg chg="add mod ord replST delST">
          <ac:chgData name="Guinn, Sarah" userId="63e3ce5a-fcc6-474a-b3de-375720223e75" providerId="ADAL" clId="{D0183198-7876-4C7A-B1BE-BCAB6AE57610}" dt="2023-09-05T16:25:27.982" v="9954"/>
          <ac:graphicFrameMkLst>
            <pc:docMk/>
            <pc:sldMk cId="99080806" sldId="298"/>
            <ac:graphicFrameMk id="218" creationId="{1A03BFC9-F491-3EBC-E5F5-02A226DDBE6C}"/>
          </ac:graphicFrameMkLst>
        </pc:graphicFrameChg>
        <pc:graphicFrameChg chg="add del mod ord replST">
          <ac:chgData name="Guinn, Sarah" userId="63e3ce5a-fcc6-474a-b3de-375720223e75" providerId="ADAL" clId="{D0183198-7876-4C7A-B1BE-BCAB6AE57610}" dt="2023-09-05T16:25:41.701" v="10274"/>
          <ac:graphicFrameMkLst>
            <pc:docMk/>
            <pc:sldMk cId="99080806" sldId="298"/>
            <ac:graphicFrameMk id="221" creationId="{59EF31DC-E519-A44B-3D00-49C273400CF4}"/>
          </ac:graphicFrameMkLst>
        </pc:graphicFrameChg>
        <pc:graphicFrameChg chg="add del mod ord replST">
          <ac:chgData name="Guinn, Sarah" userId="63e3ce5a-fcc6-474a-b3de-375720223e75" providerId="ADAL" clId="{D0183198-7876-4C7A-B1BE-BCAB6AE57610}" dt="2023-09-05T16:25:43.237" v="10380"/>
          <ac:graphicFrameMkLst>
            <pc:docMk/>
            <pc:sldMk cId="99080806" sldId="298"/>
            <ac:graphicFrameMk id="223" creationId="{78689890-23F3-DB0A-3EBA-68282361C38E}"/>
          </ac:graphicFrameMkLst>
        </pc:graphicFrameChg>
        <pc:graphicFrameChg chg="add del mod ord replST">
          <ac:chgData name="Guinn, Sarah" userId="63e3ce5a-fcc6-474a-b3de-375720223e75" providerId="ADAL" clId="{D0183198-7876-4C7A-B1BE-BCAB6AE57610}" dt="2023-09-05T16:25:44.449" v="10482"/>
          <ac:graphicFrameMkLst>
            <pc:docMk/>
            <pc:sldMk cId="99080806" sldId="298"/>
            <ac:graphicFrameMk id="225" creationId="{C1DE2908-D986-EBF5-CED1-09509702DFE3}"/>
          </ac:graphicFrameMkLst>
        </pc:graphicFrameChg>
        <pc:graphicFrameChg chg="add del mod ord replST">
          <ac:chgData name="Guinn, Sarah" userId="63e3ce5a-fcc6-474a-b3de-375720223e75" providerId="ADAL" clId="{D0183198-7876-4C7A-B1BE-BCAB6AE57610}" dt="2023-09-05T16:25:48.162" v="10597"/>
          <ac:graphicFrameMkLst>
            <pc:docMk/>
            <pc:sldMk cId="99080806" sldId="298"/>
            <ac:graphicFrameMk id="227" creationId="{5D7C2B22-75F9-4FA3-CA22-0FDC3D17AB08}"/>
          </ac:graphicFrameMkLst>
        </pc:graphicFrameChg>
        <pc:graphicFrameChg chg="add del mod ord replST">
          <ac:chgData name="Guinn, Sarah" userId="63e3ce5a-fcc6-474a-b3de-375720223e75" providerId="ADAL" clId="{D0183198-7876-4C7A-B1BE-BCAB6AE57610}" dt="2023-09-05T16:25:49.642" v="10692"/>
          <ac:graphicFrameMkLst>
            <pc:docMk/>
            <pc:sldMk cId="99080806" sldId="298"/>
            <ac:graphicFrameMk id="229" creationId="{DF79D3EA-D07D-67D9-538E-2542330FD93C}"/>
          </ac:graphicFrameMkLst>
        </pc:graphicFrameChg>
        <pc:graphicFrameChg chg="add del mod ord replST">
          <ac:chgData name="Guinn, Sarah" userId="63e3ce5a-fcc6-474a-b3de-375720223e75" providerId="ADAL" clId="{D0183198-7876-4C7A-B1BE-BCAB6AE57610}" dt="2023-09-05T16:26:16.780" v="10859"/>
          <ac:graphicFrameMkLst>
            <pc:docMk/>
            <pc:sldMk cId="99080806" sldId="298"/>
            <ac:graphicFrameMk id="231" creationId="{778D3948-C65E-484C-0300-CC89328125CE}"/>
          </ac:graphicFrameMkLst>
        </pc:graphicFrameChg>
        <pc:graphicFrameChg chg="add del mod ord replST">
          <ac:chgData name="Guinn, Sarah" userId="63e3ce5a-fcc6-474a-b3de-375720223e75" providerId="ADAL" clId="{D0183198-7876-4C7A-B1BE-BCAB6AE57610}" dt="2023-09-05T16:26:43.122" v="11046"/>
          <ac:graphicFrameMkLst>
            <pc:docMk/>
            <pc:sldMk cId="99080806" sldId="298"/>
            <ac:graphicFrameMk id="238" creationId="{D1701F6D-CFFE-92D1-DEE3-1B699D015BE7}"/>
          </ac:graphicFrameMkLst>
        </pc:graphicFrameChg>
        <pc:graphicFrameChg chg="add del mod ord replST">
          <ac:chgData name="Guinn, Sarah" userId="63e3ce5a-fcc6-474a-b3de-375720223e75" providerId="ADAL" clId="{D0183198-7876-4C7A-B1BE-BCAB6AE57610}" dt="2023-09-05T16:26:47.423" v="11155"/>
          <ac:graphicFrameMkLst>
            <pc:docMk/>
            <pc:sldMk cId="99080806" sldId="298"/>
            <ac:graphicFrameMk id="242" creationId="{E73CE916-D2DA-9EB3-C718-76818F3E9A4E}"/>
          </ac:graphicFrameMkLst>
        </pc:graphicFrameChg>
        <pc:graphicFrameChg chg="add del mod ord replST">
          <ac:chgData name="Guinn, Sarah" userId="63e3ce5a-fcc6-474a-b3de-375720223e75" providerId="ADAL" clId="{D0183198-7876-4C7A-B1BE-BCAB6AE57610}" dt="2023-09-05T16:26:49.243" v="11246"/>
          <ac:graphicFrameMkLst>
            <pc:docMk/>
            <pc:sldMk cId="99080806" sldId="298"/>
            <ac:graphicFrameMk id="244" creationId="{FD8360A3-B7A5-4627-9BC5-FBA5227FD400}"/>
          </ac:graphicFrameMkLst>
        </pc:graphicFrameChg>
        <pc:graphicFrameChg chg="add del mod ord replST">
          <ac:chgData name="Guinn, Sarah" userId="63e3ce5a-fcc6-474a-b3de-375720223e75" providerId="ADAL" clId="{D0183198-7876-4C7A-B1BE-BCAB6AE57610}" dt="2023-09-05T16:27:44.911" v="12192"/>
          <ac:graphicFrameMkLst>
            <pc:docMk/>
            <pc:sldMk cId="99080806" sldId="298"/>
            <ac:graphicFrameMk id="246" creationId="{8B14911C-96F8-11DE-F60C-10849240FD74}"/>
          </ac:graphicFrameMkLst>
        </pc:graphicFrameChg>
        <pc:graphicFrameChg chg="add del mod ord replST">
          <ac:chgData name="Guinn, Sarah" userId="63e3ce5a-fcc6-474a-b3de-375720223e75" providerId="ADAL" clId="{D0183198-7876-4C7A-B1BE-BCAB6AE57610}" dt="2023-09-05T16:27:09.394" v="11603"/>
          <ac:graphicFrameMkLst>
            <pc:docMk/>
            <pc:sldMk cId="99080806" sldId="298"/>
            <ac:graphicFrameMk id="249" creationId="{934AE1C1-ED80-DBA7-283F-6768E9EB9D12}"/>
          </ac:graphicFrameMkLst>
        </pc:graphicFrameChg>
        <pc:graphicFrameChg chg="add del mod ord replST">
          <ac:chgData name="Guinn, Sarah" userId="63e3ce5a-fcc6-474a-b3de-375720223e75" providerId="ADAL" clId="{D0183198-7876-4C7A-B1BE-BCAB6AE57610}" dt="2023-09-05T16:27:13.941" v="11696"/>
          <ac:graphicFrameMkLst>
            <pc:docMk/>
            <pc:sldMk cId="99080806" sldId="298"/>
            <ac:graphicFrameMk id="251" creationId="{E4FB973F-5E07-9E72-636E-14A82C92128F}"/>
          </ac:graphicFrameMkLst>
        </pc:graphicFrameChg>
        <pc:graphicFrameChg chg="add del mod ord replST">
          <ac:chgData name="Guinn, Sarah" userId="63e3ce5a-fcc6-474a-b3de-375720223e75" providerId="ADAL" clId="{D0183198-7876-4C7A-B1BE-BCAB6AE57610}" dt="2023-09-05T16:27:20.050" v="11797"/>
          <ac:graphicFrameMkLst>
            <pc:docMk/>
            <pc:sldMk cId="99080806" sldId="298"/>
            <ac:graphicFrameMk id="253" creationId="{3EF19293-DBED-7027-E8B8-44C4295CC928}"/>
          </ac:graphicFrameMkLst>
        </pc:graphicFrameChg>
        <pc:graphicFrameChg chg="add del mod ord replST">
          <ac:chgData name="Guinn, Sarah" userId="63e3ce5a-fcc6-474a-b3de-375720223e75" providerId="ADAL" clId="{D0183198-7876-4C7A-B1BE-BCAB6AE57610}" dt="2023-09-05T16:27:44.959" v="12216"/>
          <ac:graphicFrameMkLst>
            <pc:docMk/>
            <pc:sldMk cId="99080806" sldId="298"/>
            <ac:graphicFrameMk id="255" creationId="{41EF4107-9BE2-E9E5-8AC0-E73BD9CBCA30}"/>
          </ac:graphicFrameMkLst>
        </pc:graphicFrameChg>
        <pc:graphicFrameChg chg="add mod ord replST delST">
          <ac:chgData name="Guinn, Sarah" userId="63e3ce5a-fcc6-474a-b3de-375720223e75" providerId="ADAL" clId="{D0183198-7876-4C7A-B1BE-BCAB6AE57610}" dt="2023-09-05T16:27:37.913" v="12013"/>
          <ac:graphicFrameMkLst>
            <pc:docMk/>
            <pc:sldMk cId="99080806" sldId="298"/>
            <ac:graphicFrameMk id="257" creationId="{11E59924-4AE9-FA09-90B5-E946786165C6}"/>
          </ac:graphicFrameMkLst>
        </pc:graphicFrameChg>
        <pc:graphicFrameChg chg="add mod ord replST">
          <ac:chgData name="Guinn, Sarah" userId="63e3ce5a-fcc6-474a-b3de-375720223e75" providerId="ADAL" clId="{D0183198-7876-4C7A-B1BE-BCAB6AE57610}" dt="2023-09-05T16:27:44.957" v="12208"/>
          <ac:graphicFrameMkLst>
            <pc:docMk/>
            <pc:sldMk cId="99080806" sldId="298"/>
            <ac:graphicFrameMk id="259" creationId="{A18E4EA1-9B31-4FA5-4815-4E9B0C69A984}"/>
          </ac:graphicFrameMkLst>
        </pc:graphicFrameChg>
        <pc:cxnChg chg="add del mod ord replST">
          <ac:chgData name="Guinn, Sarah" userId="63e3ce5a-fcc6-474a-b3de-375720223e75" providerId="ADAL" clId="{D0183198-7876-4C7A-B1BE-BCAB6AE57610}" dt="2023-09-05T16:20:13.650" v="2449"/>
          <ac:cxnSpMkLst>
            <pc:docMk/>
            <pc:sldMk cId="99080806" sldId="298"/>
            <ac:cxnSpMk id="73" creationId="{7D54AEED-E4E8-D76D-F00D-19FB0A3AC8FA}"/>
          </ac:cxnSpMkLst>
        </pc:cxnChg>
        <pc:cxnChg chg="add del mod ord replST delST">
          <ac:chgData name="Guinn, Sarah" userId="63e3ce5a-fcc6-474a-b3de-375720223e75" providerId="ADAL" clId="{D0183198-7876-4C7A-B1BE-BCAB6AE57610}" dt="2023-09-05T16:24:17.547" v="9039"/>
          <ac:cxnSpMkLst>
            <pc:docMk/>
            <pc:sldMk cId="99080806" sldId="298"/>
            <ac:cxnSpMk id="201" creationId="{5E99E512-2680-951B-A879-869E22B26536}"/>
          </ac:cxnSpMkLst>
        </pc:cxnChg>
        <pc:cxnChg chg="add del mod ord replST delST">
          <ac:chgData name="Guinn, Sarah" userId="63e3ce5a-fcc6-474a-b3de-375720223e75" providerId="ADAL" clId="{D0183198-7876-4C7A-B1BE-BCAB6AE57610}" dt="2023-09-05T16:24:17.547" v="9039"/>
          <ac:cxnSpMkLst>
            <pc:docMk/>
            <pc:sldMk cId="99080806" sldId="298"/>
            <ac:cxnSpMk id="202" creationId="{EA448A60-77D1-2871-FBDE-9DC6A0FC7A1E}"/>
          </ac:cxnSpMkLst>
        </pc:cxnChg>
        <pc:cxnChg chg="add del mod ord replST delST">
          <ac:chgData name="Guinn, Sarah" userId="63e3ce5a-fcc6-474a-b3de-375720223e75" providerId="ADAL" clId="{D0183198-7876-4C7A-B1BE-BCAB6AE57610}" dt="2023-09-05T16:24:17.547" v="9039"/>
          <ac:cxnSpMkLst>
            <pc:docMk/>
            <pc:sldMk cId="99080806" sldId="298"/>
            <ac:cxnSpMk id="203" creationId="{EB12DCFB-35B5-FE65-B7F1-E0ED782B7560}"/>
          </ac:cxnSpMkLst>
        </pc:cxnChg>
        <pc:cxnChg chg="add del mod ord replST delST">
          <ac:chgData name="Guinn, Sarah" userId="63e3ce5a-fcc6-474a-b3de-375720223e75" providerId="ADAL" clId="{D0183198-7876-4C7A-B1BE-BCAB6AE57610}" dt="2023-09-05T16:24:17.547" v="9039"/>
          <ac:cxnSpMkLst>
            <pc:docMk/>
            <pc:sldMk cId="99080806" sldId="298"/>
            <ac:cxnSpMk id="204" creationId="{56BC418C-CE04-42F8-E88A-4D21740F4F5B}"/>
          </ac:cxnSpMkLst>
        </pc:cxnChg>
        <pc:cxnChg chg="add del mod ord replST delST">
          <ac:chgData name="Guinn, Sarah" userId="63e3ce5a-fcc6-474a-b3de-375720223e75" providerId="ADAL" clId="{D0183198-7876-4C7A-B1BE-BCAB6AE57610}" dt="2023-09-05T16:24:17.547" v="9039"/>
          <ac:cxnSpMkLst>
            <pc:docMk/>
            <pc:sldMk cId="99080806" sldId="298"/>
            <ac:cxnSpMk id="205" creationId="{C1B944E3-B838-A2EF-2E06-16933AAC2A3E}"/>
          </ac:cxnSpMkLst>
        </pc:cxnChg>
      </pc:sldChg>
      <pc:sldChg chg="addSp delSp modSp add mod">
        <pc:chgData name="Guinn, Sarah" userId="63e3ce5a-fcc6-474a-b3de-375720223e75" providerId="ADAL" clId="{D0183198-7876-4C7A-B1BE-BCAB6AE57610}" dt="2023-09-07T20:30:09.082" v="35227"/>
        <pc:sldMkLst>
          <pc:docMk/>
          <pc:sldMk cId="2136892941" sldId="299"/>
        </pc:sldMkLst>
        <pc:spChg chg="mod ord">
          <ac:chgData name="Guinn, Sarah" userId="63e3ce5a-fcc6-474a-b3de-375720223e75" providerId="ADAL" clId="{D0183198-7876-4C7A-B1BE-BCAB6AE57610}" dt="2023-09-07T20:30:09.071" v="35203"/>
          <ac:spMkLst>
            <pc:docMk/>
            <pc:sldMk cId="2136892941" sldId="299"/>
            <ac:spMk id="2" creationId="{D06490A8-2FAB-8E10-83A1-9BC5CF0A36C9}"/>
          </ac:spMkLst>
        </pc:spChg>
        <pc:spChg chg="add del mod modVis">
          <ac:chgData name="Guinn, Sarah" userId="63e3ce5a-fcc6-474a-b3de-375720223e75" providerId="ADAL" clId="{D0183198-7876-4C7A-B1BE-BCAB6AE57610}" dt="2023-09-07T20:07:48.737" v="29314"/>
          <ac:spMkLst>
            <pc:docMk/>
            <pc:sldMk cId="2136892941" sldId="299"/>
            <ac:spMk id="3" creationId="{31150633-3C96-1498-87F1-DCB84E363D21}"/>
          </ac:spMkLst>
        </pc:spChg>
        <pc:spChg chg="add del mod modVis">
          <ac:chgData name="Guinn, Sarah" userId="63e3ce5a-fcc6-474a-b3de-375720223e75" providerId="ADAL" clId="{D0183198-7876-4C7A-B1BE-BCAB6AE57610}" dt="2023-09-05T16:28:34.703" v="12271"/>
          <ac:spMkLst>
            <pc:docMk/>
            <pc:sldMk cId="2136892941" sldId="299"/>
            <ac:spMk id="3" creationId="{79402C49-04B9-9738-EE3A-1BB17B42783F}"/>
          </ac:spMkLst>
        </pc:spChg>
        <pc:spChg chg="add mod replST">
          <ac:chgData name="Guinn, Sarah" userId="63e3ce5a-fcc6-474a-b3de-375720223e75" providerId="ADAL" clId="{D0183198-7876-4C7A-B1BE-BCAB6AE57610}" dt="2023-09-07T20:30:09.074" v="35216"/>
          <ac:spMkLst>
            <pc:docMk/>
            <pc:sldMk cId="2136892941" sldId="299"/>
            <ac:spMk id="4" creationId="{1399CF18-91B7-A1FF-87AD-1A4F333B2738}"/>
          </ac:spMkLst>
        </pc:spChg>
        <pc:spChg chg="add del mod modVis">
          <ac:chgData name="Guinn, Sarah" userId="63e3ce5a-fcc6-474a-b3de-375720223e75" providerId="ADAL" clId="{D0183198-7876-4C7A-B1BE-BCAB6AE57610}" dt="2023-09-05T16:28:36.053" v="12493"/>
          <ac:spMkLst>
            <pc:docMk/>
            <pc:sldMk cId="2136892941" sldId="299"/>
            <ac:spMk id="4" creationId="{4BA30785-14DB-F0A6-4C9B-62662643AD3B}"/>
          </ac:spMkLst>
        </pc:spChg>
        <pc:spChg chg="add mod replST">
          <ac:chgData name="Guinn, Sarah" userId="63e3ce5a-fcc6-474a-b3de-375720223e75" providerId="ADAL" clId="{D0183198-7876-4C7A-B1BE-BCAB6AE57610}" dt="2023-09-07T20:30:09.075" v="35217"/>
          <ac:spMkLst>
            <pc:docMk/>
            <pc:sldMk cId="2136892941" sldId="299"/>
            <ac:spMk id="5" creationId="{2D2AF873-4127-FA98-AE67-D22139E518CF}"/>
          </ac:spMkLst>
        </pc:spChg>
        <pc:spChg chg="del mod ord">
          <ac:chgData name="Guinn, Sarah" userId="63e3ce5a-fcc6-474a-b3de-375720223e75" providerId="ADAL" clId="{D0183198-7876-4C7A-B1BE-BCAB6AE57610}" dt="2023-09-05T16:40:42.296" v="18953" actId="478"/>
          <ac:spMkLst>
            <pc:docMk/>
            <pc:sldMk cId="2136892941" sldId="299"/>
            <ac:spMk id="6" creationId="{271565C0-EBE1-7F2A-0F40-F20305F80706}"/>
          </ac:spMkLst>
        </pc:spChg>
        <pc:spChg chg="add del mod replST">
          <ac:chgData name="Guinn, Sarah" userId="63e3ce5a-fcc6-474a-b3de-375720223e75" providerId="ADAL" clId="{D0183198-7876-4C7A-B1BE-BCAB6AE57610}" dt="2023-09-07T20:08:37.294" v="29702"/>
          <ac:spMkLst>
            <pc:docMk/>
            <pc:sldMk cId="2136892941" sldId="299"/>
            <ac:spMk id="6" creationId="{AEF09B88-A259-4DE2-49CF-CDE767B757F5}"/>
          </ac:spMkLst>
        </pc:spChg>
        <pc:spChg chg="add mod replST">
          <ac:chgData name="Guinn, Sarah" userId="63e3ce5a-fcc6-474a-b3de-375720223e75" providerId="ADAL" clId="{D0183198-7876-4C7A-B1BE-BCAB6AE57610}" dt="2023-09-07T20:30:09.076" v="35220"/>
          <ac:spMkLst>
            <pc:docMk/>
            <pc:sldMk cId="2136892941" sldId="299"/>
            <ac:spMk id="7" creationId="{054DC44F-22CA-AA54-68F9-9AE836C8D4A2}"/>
          </ac:spMkLst>
        </pc:spChg>
        <pc:spChg chg="add del mod modVis">
          <ac:chgData name="Guinn, Sarah" userId="63e3ce5a-fcc6-474a-b3de-375720223e75" providerId="ADAL" clId="{D0183198-7876-4C7A-B1BE-BCAB6AE57610}" dt="2023-09-05T16:28:39.811" v="12719"/>
          <ac:spMkLst>
            <pc:docMk/>
            <pc:sldMk cId="2136892941" sldId="299"/>
            <ac:spMk id="7" creationId="{7C1453F0-ECCA-A599-26B7-DF17331C060A}"/>
          </ac:spMkLst>
        </pc:spChg>
        <pc:spChg chg="add mod replST">
          <ac:chgData name="Guinn, Sarah" userId="63e3ce5a-fcc6-474a-b3de-375720223e75" providerId="ADAL" clId="{D0183198-7876-4C7A-B1BE-BCAB6AE57610}" dt="2023-09-07T20:30:09.076" v="35221"/>
          <ac:spMkLst>
            <pc:docMk/>
            <pc:sldMk cId="2136892941" sldId="299"/>
            <ac:spMk id="8" creationId="{49858FA8-1850-85FE-1E22-3C08A1F70757}"/>
          </ac:spMkLst>
        </pc:spChg>
        <pc:spChg chg="add del mod modVis">
          <ac:chgData name="Guinn, Sarah" userId="63e3ce5a-fcc6-474a-b3de-375720223e75" providerId="ADAL" clId="{D0183198-7876-4C7A-B1BE-BCAB6AE57610}" dt="2023-09-05T16:28:42.221" v="12820"/>
          <ac:spMkLst>
            <pc:docMk/>
            <pc:sldMk cId="2136892941" sldId="299"/>
            <ac:spMk id="9" creationId="{883CAFC0-8BB2-E6F5-FE05-D54308992BA3}"/>
          </ac:spMkLst>
        </pc:spChg>
        <pc:spChg chg="add mod replST">
          <ac:chgData name="Guinn, Sarah" userId="63e3ce5a-fcc6-474a-b3de-375720223e75" providerId="ADAL" clId="{D0183198-7876-4C7A-B1BE-BCAB6AE57610}" dt="2023-09-07T20:30:09.076" v="35222"/>
          <ac:spMkLst>
            <pc:docMk/>
            <pc:sldMk cId="2136892941" sldId="299"/>
            <ac:spMk id="9" creationId="{E510342A-3FFB-1F46-FEBC-FF6FC3B79CCF}"/>
          </ac:spMkLst>
        </pc:spChg>
        <pc:spChg chg="mod ord">
          <ac:chgData name="Guinn, Sarah" userId="63e3ce5a-fcc6-474a-b3de-375720223e75" providerId="ADAL" clId="{D0183198-7876-4C7A-B1BE-BCAB6AE57610}" dt="2023-09-07T20:30:09.071" v="35205"/>
          <ac:spMkLst>
            <pc:docMk/>
            <pc:sldMk cId="2136892941" sldId="299"/>
            <ac:spMk id="10" creationId="{5B6185C0-3E70-ADE0-92C1-76C2221CFA9A}"/>
          </ac:spMkLst>
        </pc:spChg>
        <pc:spChg chg="add mod replST">
          <ac:chgData name="Guinn, Sarah" userId="63e3ce5a-fcc6-474a-b3de-375720223e75" providerId="ADAL" clId="{D0183198-7876-4C7A-B1BE-BCAB6AE57610}" dt="2023-09-07T20:30:09.077" v="35223"/>
          <ac:spMkLst>
            <pc:docMk/>
            <pc:sldMk cId="2136892941" sldId="299"/>
            <ac:spMk id="11" creationId="{229ADE3F-9842-8F24-CAEF-51A01C487860}"/>
          </ac:spMkLst>
        </pc:spChg>
        <pc:spChg chg="add del mod replST">
          <ac:chgData name="Guinn, Sarah" userId="63e3ce5a-fcc6-474a-b3de-375720223e75" providerId="ADAL" clId="{D0183198-7876-4C7A-B1BE-BCAB6AE57610}" dt="2023-09-07T20:11:55.047" v="33099"/>
          <ac:spMkLst>
            <pc:docMk/>
            <pc:sldMk cId="2136892941" sldId="299"/>
            <ac:spMk id="12" creationId="{B1783CD2-B293-A68F-D28A-EBA4F58B411C}"/>
          </ac:spMkLst>
        </pc:spChg>
        <pc:spChg chg="add del mod replST">
          <ac:chgData name="Guinn, Sarah" userId="63e3ce5a-fcc6-474a-b3de-375720223e75" providerId="ADAL" clId="{D0183198-7876-4C7A-B1BE-BCAB6AE57610}" dt="2023-09-05T16:28:51.845" v="13373"/>
          <ac:spMkLst>
            <pc:docMk/>
            <pc:sldMk cId="2136892941" sldId="299"/>
            <ac:spMk id="13" creationId="{45DB5280-2770-6F4E-E06B-26148B8C76F4}"/>
          </ac:spMkLst>
        </pc:spChg>
        <pc:spChg chg="add del mod replST">
          <ac:chgData name="Guinn, Sarah" userId="63e3ce5a-fcc6-474a-b3de-375720223e75" providerId="ADAL" clId="{D0183198-7876-4C7A-B1BE-BCAB6AE57610}" dt="2023-09-07T20:12:01.211" v="33277"/>
          <ac:spMkLst>
            <pc:docMk/>
            <pc:sldMk cId="2136892941" sldId="299"/>
            <ac:spMk id="13" creationId="{E9068437-681E-AD07-F18A-55C6BC5882AC}"/>
          </ac:spMkLst>
        </pc:spChg>
        <pc:spChg chg="add del mod replST">
          <ac:chgData name="Guinn, Sarah" userId="63e3ce5a-fcc6-474a-b3de-375720223e75" providerId="ADAL" clId="{D0183198-7876-4C7A-B1BE-BCAB6AE57610}" dt="2023-09-05T16:28:51.845" v="13373"/>
          <ac:spMkLst>
            <pc:docMk/>
            <pc:sldMk cId="2136892941" sldId="299"/>
            <ac:spMk id="14" creationId="{62A2690E-8B64-D3F0-3A94-0C5D39B26DE7}"/>
          </ac:spMkLst>
        </pc:spChg>
        <pc:spChg chg="add del mod replST">
          <ac:chgData name="Guinn, Sarah" userId="63e3ce5a-fcc6-474a-b3de-375720223e75" providerId="ADAL" clId="{D0183198-7876-4C7A-B1BE-BCAB6AE57610}" dt="2023-09-07T20:08:47.990" v="30157"/>
          <ac:spMkLst>
            <pc:docMk/>
            <pc:sldMk cId="2136892941" sldId="299"/>
            <ac:spMk id="14" creationId="{B861BA5F-56AC-2750-E489-9E6C3F44B8AA}"/>
          </ac:spMkLst>
        </pc:spChg>
        <pc:spChg chg="add del mod replST">
          <ac:chgData name="Guinn, Sarah" userId="63e3ce5a-fcc6-474a-b3de-375720223e75" providerId="ADAL" clId="{D0183198-7876-4C7A-B1BE-BCAB6AE57610}" dt="2023-09-05T16:28:51.845" v="13373"/>
          <ac:spMkLst>
            <pc:docMk/>
            <pc:sldMk cId="2136892941" sldId="299"/>
            <ac:spMk id="15" creationId="{A928AA9B-B8C1-9CFD-C063-53E1BE2A0909}"/>
          </ac:spMkLst>
        </pc:spChg>
        <pc:spChg chg="add del mod replST">
          <ac:chgData name="Guinn, Sarah" userId="63e3ce5a-fcc6-474a-b3de-375720223e75" providerId="ADAL" clId="{D0183198-7876-4C7A-B1BE-BCAB6AE57610}" dt="2023-09-05T16:28:51.845" v="13373"/>
          <ac:spMkLst>
            <pc:docMk/>
            <pc:sldMk cId="2136892941" sldId="299"/>
            <ac:spMk id="16" creationId="{51316C0B-7A62-8C32-AD66-4547CFDF8449}"/>
          </ac:spMkLst>
        </pc:spChg>
        <pc:spChg chg="add del mod replST">
          <ac:chgData name="Guinn, Sarah" userId="63e3ce5a-fcc6-474a-b3de-375720223e75" providerId="ADAL" clId="{D0183198-7876-4C7A-B1BE-BCAB6AE57610}" dt="2023-09-05T16:28:51.845" v="13373"/>
          <ac:spMkLst>
            <pc:docMk/>
            <pc:sldMk cId="2136892941" sldId="299"/>
            <ac:spMk id="17" creationId="{C9914E2F-712E-6A48-4925-A920C0795B89}"/>
          </ac:spMkLst>
        </pc:spChg>
        <pc:spChg chg="add del mod modVis">
          <ac:chgData name="Guinn, Sarah" userId="63e3ce5a-fcc6-474a-b3de-375720223e75" providerId="ADAL" clId="{D0183198-7876-4C7A-B1BE-BCAB6AE57610}" dt="2023-09-07T20:08:18.585" v="29437"/>
          <ac:spMkLst>
            <pc:docMk/>
            <pc:sldMk cId="2136892941" sldId="299"/>
            <ac:spMk id="18" creationId="{C02077BD-4CFA-8381-2FCD-98782DDB2A5E}"/>
          </ac:spMkLst>
        </pc:spChg>
        <pc:spChg chg="add del mod replST">
          <ac:chgData name="Guinn, Sarah" userId="63e3ce5a-fcc6-474a-b3de-375720223e75" providerId="ADAL" clId="{D0183198-7876-4C7A-B1BE-BCAB6AE57610}" dt="2023-09-05T16:28:51.845" v="13373"/>
          <ac:spMkLst>
            <pc:docMk/>
            <pc:sldMk cId="2136892941" sldId="299"/>
            <ac:spMk id="18" creationId="{F147162A-3B10-BB77-20C6-90B18F9B2289}"/>
          </ac:spMkLst>
        </pc:spChg>
        <pc:spChg chg="add del mod ord replST">
          <ac:chgData name="Guinn, Sarah" userId="63e3ce5a-fcc6-474a-b3de-375720223e75" providerId="ADAL" clId="{D0183198-7876-4C7A-B1BE-BCAB6AE57610}" dt="2023-09-05T16:28:51.845" v="13373"/>
          <ac:spMkLst>
            <pc:docMk/>
            <pc:sldMk cId="2136892941" sldId="299"/>
            <ac:spMk id="20" creationId="{5C57AFC7-FD7C-1494-EAF7-6C1E8A95961A}"/>
          </ac:spMkLst>
        </pc:spChg>
        <pc:spChg chg="add del mod modVis">
          <ac:chgData name="Guinn, Sarah" userId="63e3ce5a-fcc6-474a-b3de-375720223e75" providerId="ADAL" clId="{D0183198-7876-4C7A-B1BE-BCAB6AE57610}" dt="2023-09-07T20:08:25.118" v="29560"/>
          <ac:spMkLst>
            <pc:docMk/>
            <pc:sldMk cId="2136892941" sldId="299"/>
            <ac:spMk id="21" creationId="{1AE3476C-3369-C454-33B5-6952D7C2F997}"/>
          </ac:spMkLst>
        </pc:spChg>
        <pc:spChg chg="add del mod ord replST">
          <ac:chgData name="Guinn, Sarah" userId="63e3ce5a-fcc6-474a-b3de-375720223e75" providerId="ADAL" clId="{D0183198-7876-4C7A-B1BE-BCAB6AE57610}" dt="2023-09-05T16:28:51.845" v="13373"/>
          <ac:spMkLst>
            <pc:docMk/>
            <pc:sldMk cId="2136892941" sldId="299"/>
            <ac:spMk id="21" creationId="{6A83DB47-E567-2FD6-5D61-1E603EA80D14}"/>
          </ac:spMkLst>
        </pc:spChg>
        <pc:spChg chg="add del mod replST">
          <ac:chgData name="Guinn, Sarah" userId="63e3ce5a-fcc6-474a-b3de-375720223e75" providerId="ADAL" clId="{D0183198-7876-4C7A-B1BE-BCAB6AE57610}" dt="2023-09-05T16:28:51.845" v="13373"/>
          <ac:spMkLst>
            <pc:docMk/>
            <pc:sldMk cId="2136892941" sldId="299"/>
            <ac:spMk id="22" creationId="{4E4A6506-80E4-C439-4F56-AD6615CA7AB3}"/>
          </ac:spMkLst>
        </pc:spChg>
        <pc:spChg chg="add del mod replST">
          <ac:chgData name="Guinn, Sarah" userId="63e3ce5a-fcc6-474a-b3de-375720223e75" providerId="ADAL" clId="{D0183198-7876-4C7A-B1BE-BCAB6AE57610}" dt="2023-09-05T16:28:51.845" v="13373"/>
          <ac:spMkLst>
            <pc:docMk/>
            <pc:sldMk cId="2136892941" sldId="299"/>
            <ac:spMk id="23" creationId="{696A495D-6C09-6080-2217-B825C17F7A6A}"/>
          </ac:spMkLst>
        </pc:spChg>
        <pc:spChg chg="add del mod modVis">
          <ac:chgData name="Guinn, Sarah" userId="63e3ce5a-fcc6-474a-b3de-375720223e75" providerId="ADAL" clId="{D0183198-7876-4C7A-B1BE-BCAB6AE57610}" dt="2023-09-07T20:08:28.257" v="29687"/>
          <ac:spMkLst>
            <pc:docMk/>
            <pc:sldMk cId="2136892941" sldId="299"/>
            <ac:spMk id="23" creationId="{A9515A8A-225E-F605-044C-CFAB1972E4CF}"/>
          </ac:spMkLst>
        </pc:spChg>
        <pc:spChg chg="add del mod modVis">
          <ac:chgData name="Guinn, Sarah" userId="63e3ce5a-fcc6-474a-b3de-375720223e75" providerId="ADAL" clId="{D0183198-7876-4C7A-B1BE-BCAB6AE57610}" dt="2023-09-05T16:28:51.845" v="13373"/>
          <ac:spMkLst>
            <pc:docMk/>
            <pc:sldMk cId="2136892941" sldId="299"/>
            <ac:spMk id="24" creationId="{1CA168BA-B06C-E4A8-E8CE-9137A120D70D}"/>
          </ac:spMkLst>
        </pc:spChg>
        <pc:spChg chg="add del mod modVis">
          <ac:chgData name="Guinn, Sarah" userId="63e3ce5a-fcc6-474a-b3de-375720223e75" providerId="ADAL" clId="{D0183198-7876-4C7A-B1BE-BCAB6AE57610}" dt="2023-09-05T16:28:53.904" v="13397"/>
          <ac:spMkLst>
            <pc:docMk/>
            <pc:sldMk cId="2136892941" sldId="299"/>
            <ac:spMk id="26" creationId="{A8D15592-FBAD-F307-F91D-A4E219B12F7B}"/>
          </ac:spMkLst>
        </pc:spChg>
        <pc:spChg chg="add del mod modVis">
          <ac:chgData name="Guinn, Sarah" userId="63e3ce5a-fcc6-474a-b3de-375720223e75" providerId="ADAL" clId="{D0183198-7876-4C7A-B1BE-BCAB6AE57610}" dt="2023-09-07T20:08:38.782" v="29904"/>
          <ac:spMkLst>
            <pc:docMk/>
            <pc:sldMk cId="2136892941" sldId="299"/>
            <ac:spMk id="26" creationId="{F759BF87-5B84-EC33-271A-FECC2B65FB65}"/>
          </ac:spMkLst>
        </pc:spChg>
        <pc:spChg chg="add del mod modVis">
          <ac:chgData name="Guinn, Sarah" userId="63e3ce5a-fcc6-474a-b3de-375720223e75" providerId="ADAL" clId="{D0183198-7876-4C7A-B1BE-BCAB6AE57610}" dt="2023-09-05T16:28:55.067" v="13440"/>
          <ac:spMkLst>
            <pc:docMk/>
            <pc:sldMk cId="2136892941" sldId="299"/>
            <ac:spMk id="27" creationId="{02F05480-495C-E7D1-BEC3-ED4E71671AC8}"/>
          </ac:spMkLst>
        </pc:spChg>
        <pc:spChg chg="add del mod modVis">
          <ac:chgData name="Guinn, Sarah" userId="63e3ce5a-fcc6-474a-b3de-375720223e75" providerId="ADAL" clId="{D0183198-7876-4C7A-B1BE-BCAB6AE57610}" dt="2023-09-07T20:08:46.605" v="30029"/>
          <ac:spMkLst>
            <pc:docMk/>
            <pc:sldMk cId="2136892941" sldId="299"/>
            <ac:spMk id="28" creationId="{7B0DD0D9-4547-4F8E-260D-6C35339A5608}"/>
          </ac:spMkLst>
        </pc:spChg>
        <pc:spChg chg="add del mod replST">
          <ac:chgData name="Guinn, Sarah" userId="63e3ce5a-fcc6-474a-b3de-375720223e75" providerId="ADAL" clId="{D0183198-7876-4C7A-B1BE-BCAB6AE57610}" dt="2023-09-05T16:31:54.594" v="16194"/>
          <ac:spMkLst>
            <pc:docMk/>
            <pc:sldMk cId="2136892941" sldId="299"/>
            <ac:spMk id="29" creationId="{180C3BCD-585C-5012-98CC-4FB982D8A393}"/>
          </ac:spMkLst>
        </pc:spChg>
        <pc:spChg chg="add del mod replST">
          <ac:chgData name="Guinn, Sarah" userId="63e3ce5a-fcc6-474a-b3de-375720223e75" providerId="ADAL" clId="{D0183198-7876-4C7A-B1BE-BCAB6AE57610}" dt="2023-09-07T20:10:14.088" v="32529"/>
          <ac:spMkLst>
            <pc:docMk/>
            <pc:sldMk cId="2136892941" sldId="299"/>
            <ac:spMk id="30" creationId="{93B6837F-C29C-C934-81A3-CC28B1EC6C58}"/>
          </ac:spMkLst>
        </pc:spChg>
        <pc:spChg chg="add del mod replST">
          <ac:chgData name="Guinn, Sarah" userId="63e3ce5a-fcc6-474a-b3de-375720223e75" providerId="ADAL" clId="{D0183198-7876-4C7A-B1BE-BCAB6AE57610}" dt="2023-09-07T20:10:14.087" v="32527"/>
          <ac:spMkLst>
            <pc:docMk/>
            <pc:sldMk cId="2136892941" sldId="299"/>
            <ac:spMk id="31" creationId="{1E645890-A0B9-0CB4-73C2-F53DA39099A7}"/>
          </ac:spMkLst>
        </pc:spChg>
        <pc:spChg chg="add del mod modVis">
          <ac:chgData name="Guinn, Sarah" userId="63e3ce5a-fcc6-474a-b3de-375720223e75" providerId="ADAL" clId="{D0183198-7876-4C7A-B1BE-BCAB6AE57610}" dt="2023-09-05T16:31:54.692" v="16276"/>
          <ac:spMkLst>
            <pc:docMk/>
            <pc:sldMk cId="2136892941" sldId="299"/>
            <ac:spMk id="64" creationId="{6F390179-9189-CC2F-79DB-5437539D5708}"/>
          </ac:spMkLst>
        </pc:spChg>
        <pc:spChg chg="add del mod modVis">
          <ac:chgData name="Guinn, Sarah" userId="63e3ce5a-fcc6-474a-b3de-375720223e75" providerId="ADAL" clId="{D0183198-7876-4C7A-B1BE-BCAB6AE57610}" dt="2023-09-07T20:14:02.897" v="34028"/>
          <ac:spMkLst>
            <pc:docMk/>
            <pc:sldMk cId="2136892941" sldId="299"/>
            <ac:spMk id="64" creationId="{762F3F84-55F1-AAAD-C767-00F437965E85}"/>
          </ac:spMkLst>
        </pc:spChg>
        <pc:spChg chg="add del mod modVis">
          <ac:chgData name="Guinn, Sarah" userId="63e3ce5a-fcc6-474a-b3de-375720223e75" providerId="ADAL" clId="{D0183198-7876-4C7A-B1BE-BCAB6AE57610}" dt="2023-09-05T16:31:57.892" v="16371"/>
          <ac:spMkLst>
            <pc:docMk/>
            <pc:sldMk cId="2136892941" sldId="299"/>
            <ac:spMk id="66" creationId="{11BF31AA-B2AE-A900-DBE6-A5EBBA590599}"/>
          </ac:spMkLst>
        </pc:spChg>
        <pc:spChg chg="add del mod modVis">
          <ac:chgData name="Guinn, Sarah" userId="63e3ce5a-fcc6-474a-b3de-375720223e75" providerId="ADAL" clId="{D0183198-7876-4C7A-B1BE-BCAB6AE57610}" dt="2023-09-05T16:32:02.877" v="16465"/>
          <ac:spMkLst>
            <pc:docMk/>
            <pc:sldMk cId="2136892941" sldId="299"/>
            <ac:spMk id="68" creationId="{927F4304-49EE-EB9A-3213-C9BE1B82C22B}"/>
          </ac:spMkLst>
        </pc:spChg>
        <pc:spChg chg="add del mod ord">
          <ac:chgData name="Guinn, Sarah" userId="63e3ce5a-fcc6-474a-b3de-375720223e75" providerId="ADAL" clId="{D0183198-7876-4C7A-B1BE-BCAB6AE57610}" dt="2023-09-07T20:12:08.589" v="33332" actId="478"/>
          <ac:spMkLst>
            <pc:docMk/>
            <pc:sldMk cId="2136892941" sldId="299"/>
            <ac:spMk id="70" creationId="{8E274249-F5CE-95C3-13EE-759A97347D70}"/>
          </ac:spMkLst>
        </pc:spChg>
        <pc:spChg chg="add del mod ord">
          <ac:chgData name="Guinn, Sarah" userId="63e3ce5a-fcc6-474a-b3de-375720223e75" providerId="ADAL" clId="{D0183198-7876-4C7A-B1BE-BCAB6AE57610}" dt="2023-09-07T20:12:08.589" v="33332" actId="478"/>
          <ac:spMkLst>
            <pc:docMk/>
            <pc:sldMk cId="2136892941" sldId="299"/>
            <ac:spMk id="71" creationId="{4464123C-29C9-6723-4C2A-BB4A2711163D}"/>
          </ac:spMkLst>
        </pc:spChg>
        <pc:spChg chg="add del mod ord">
          <ac:chgData name="Guinn, Sarah" userId="63e3ce5a-fcc6-474a-b3de-375720223e75" providerId="ADAL" clId="{D0183198-7876-4C7A-B1BE-BCAB6AE57610}" dt="2023-09-07T20:12:01.805" v="33330" actId="478"/>
          <ac:spMkLst>
            <pc:docMk/>
            <pc:sldMk cId="2136892941" sldId="299"/>
            <ac:spMk id="72" creationId="{EC2B716E-0136-B540-5E6B-641ADFE4EE22}"/>
          </ac:spMkLst>
        </pc:spChg>
        <pc:spChg chg="add del mod modVis">
          <ac:chgData name="Guinn, Sarah" userId="63e3ce5a-fcc6-474a-b3de-375720223e75" providerId="ADAL" clId="{D0183198-7876-4C7A-B1BE-BCAB6AE57610}" dt="2023-09-05T16:34:11.593" v="16663"/>
          <ac:spMkLst>
            <pc:docMk/>
            <pc:sldMk cId="2136892941" sldId="299"/>
            <ac:spMk id="73" creationId="{2EA72CA5-8329-EF74-FC6C-78201EADC846}"/>
          </ac:spMkLst>
        </pc:spChg>
        <pc:spChg chg="add del mod ord">
          <ac:chgData name="Guinn, Sarah" userId="63e3ce5a-fcc6-474a-b3de-375720223e75" providerId="ADAL" clId="{D0183198-7876-4C7A-B1BE-BCAB6AE57610}" dt="2023-09-07T20:12:03.147" v="33331" actId="478"/>
          <ac:spMkLst>
            <pc:docMk/>
            <pc:sldMk cId="2136892941" sldId="299"/>
            <ac:spMk id="75" creationId="{303E736C-B45A-8CE5-6E44-AF4BBA36F273}"/>
          </ac:spMkLst>
        </pc:spChg>
        <pc:spChg chg="add del mod">
          <ac:chgData name="Guinn, Sarah" userId="63e3ce5a-fcc6-474a-b3de-375720223e75" providerId="ADAL" clId="{D0183198-7876-4C7A-B1BE-BCAB6AE57610}" dt="2023-09-07T20:30:07.585" v="35120"/>
          <ac:spMkLst>
            <pc:docMk/>
            <pc:sldMk cId="2136892941" sldId="299"/>
            <ac:spMk id="76" creationId="{0A4A7857-EC99-2EE3-4ED2-5B15142296F7}"/>
          </ac:spMkLst>
        </pc:spChg>
        <pc:spChg chg="add del mod modVis">
          <ac:chgData name="Guinn, Sarah" userId="63e3ce5a-fcc6-474a-b3de-375720223e75" providerId="ADAL" clId="{D0183198-7876-4C7A-B1BE-BCAB6AE57610}" dt="2023-09-05T16:35:44.843" v="16764"/>
          <ac:spMkLst>
            <pc:docMk/>
            <pc:sldMk cId="2136892941" sldId="299"/>
            <ac:spMk id="76" creationId="{3CBDDB16-BBEF-B0BF-94E2-3F6C4C05C2E4}"/>
          </ac:spMkLst>
        </pc:spChg>
        <pc:spChg chg="add del mod modVis">
          <ac:chgData name="Guinn, Sarah" userId="63e3ce5a-fcc6-474a-b3de-375720223e75" providerId="ADAL" clId="{D0183198-7876-4C7A-B1BE-BCAB6AE57610}" dt="2023-09-05T16:36:09.293" v="17865"/>
          <ac:spMkLst>
            <pc:docMk/>
            <pc:sldMk cId="2136892941" sldId="299"/>
            <ac:spMk id="77" creationId="{18B36621-9727-418D-AB6E-B30CE36F00DC}"/>
          </ac:spMkLst>
        </pc:spChg>
        <pc:spChg chg="add del mod modVis">
          <ac:chgData name="Guinn, Sarah" userId="63e3ce5a-fcc6-474a-b3de-375720223e75" providerId="ADAL" clId="{D0183198-7876-4C7A-B1BE-BCAB6AE57610}" dt="2023-09-05T16:36:08.792" v="17703"/>
          <ac:spMkLst>
            <pc:docMk/>
            <pc:sldMk cId="2136892941" sldId="299"/>
            <ac:spMk id="79" creationId="{373E2ADF-C42F-D45F-A957-76DEAD9E2129}"/>
          </ac:spMkLst>
        </pc:spChg>
        <pc:spChg chg="add del mod modVis">
          <ac:chgData name="Guinn, Sarah" userId="63e3ce5a-fcc6-474a-b3de-375720223e75" providerId="ADAL" clId="{D0183198-7876-4C7A-B1BE-BCAB6AE57610}" dt="2023-09-05T16:36:08.228" v="17541"/>
          <ac:spMkLst>
            <pc:docMk/>
            <pc:sldMk cId="2136892941" sldId="299"/>
            <ac:spMk id="81" creationId="{8F242D4D-0767-2F96-7483-CCEEFD32EAD5}"/>
          </ac:spMkLst>
        </pc:spChg>
        <pc:spChg chg="add del mod modVis">
          <ac:chgData name="Guinn, Sarah" userId="63e3ce5a-fcc6-474a-b3de-375720223e75" providerId="ADAL" clId="{D0183198-7876-4C7A-B1BE-BCAB6AE57610}" dt="2023-09-05T16:38:46.809" v="18761"/>
          <ac:spMkLst>
            <pc:docMk/>
            <pc:sldMk cId="2136892941" sldId="299"/>
            <ac:spMk id="83" creationId="{3FD0BFFB-FB8D-7811-773A-BD5C80642330}"/>
          </ac:spMkLst>
        </pc:spChg>
        <pc:spChg chg="add del mod modVis">
          <ac:chgData name="Guinn, Sarah" userId="63e3ce5a-fcc6-474a-b3de-375720223e75" providerId="ADAL" clId="{D0183198-7876-4C7A-B1BE-BCAB6AE57610}" dt="2023-09-05T16:38:49.616" v="18929"/>
          <ac:spMkLst>
            <pc:docMk/>
            <pc:sldMk cId="2136892941" sldId="299"/>
            <ac:spMk id="87" creationId="{C15A4BA1-C564-491D-BC11-83BE609F7348}"/>
          </ac:spMkLst>
        </pc:spChg>
        <pc:spChg chg="add del mod">
          <ac:chgData name="Guinn, Sarah" userId="63e3ce5a-fcc6-474a-b3de-375720223e75" providerId="ADAL" clId="{D0183198-7876-4C7A-B1BE-BCAB6AE57610}" dt="2023-09-07T20:11:20.833" v="32726"/>
          <ac:spMkLst>
            <pc:docMk/>
            <pc:sldMk cId="2136892941" sldId="299"/>
            <ac:spMk id="91" creationId="{25451B9E-D51F-A57B-665E-A7BEA26B9CF9}"/>
          </ac:spMkLst>
        </pc:spChg>
        <pc:spChg chg="add del mod">
          <ac:chgData name="Guinn, Sarah" userId="63e3ce5a-fcc6-474a-b3de-375720223e75" providerId="ADAL" clId="{D0183198-7876-4C7A-B1BE-BCAB6AE57610}" dt="2023-09-07T20:11:20.832" v="32724"/>
          <ac:spMkLst>
            <pc:docMk/>
            <pc:sldMk cId="2136892941" sldId="299"/>
            <ac:spMk id="92" creationId="{541DF10E-FBED-68D7-FFB7-E3FE12371BB9}"/>
          </ac:spMkLst>
        </pc:spChg>
        <pc:spChg chg="add del mod">
          <ac:chgData name="Guinn, Sarah" userId="63e3ce5a-fcc6-474a-b3de-375720223e75" providerId="ADAL" clId="{D0183198-7876-4C7A-B1BE-BCAB6AE57610}" dt="2023-09-07T20:11:20.831" v="32722"/>
          <ac:spMkLst>
            <pc:docMk/>
            <pc:sldMk cId="2136892941" sldId="299"/>
            <ac:spMk id="93" creationId="{11F35987-9E0B-C02A-4724-950375417DB9}"/>
          </ac:spMkLst>
        </pc:spChg>
        <pc:spChg chg="add del mod modVis">
          <ac:chgData name="Guinn, Sarah" userId="63e3ce5a-fcc6-474a-b3de-375720223e75" providerId="ADAL" clId="{D0183198-7876-4C7A-B1BE-BCAB6AE57610}" dt="2023-09-05T16:41:50.171" v="19459"/>
          <ac:spMkLst>
            <pc:docMk/>
            <pc:sldMk cId="2136892941" sldId="299"/>
            <ac:spMk id="94" creationId="{885D219D-904B-B194-736C-4200FDFEFFC5}"/>
          </ac:spMkLst>
        </pc:spChg>
        <pc:spChg chg="add del mod replST">
          <ac:chgData name="Guinn, Sarah" userId="63e3ce5a-fcc6-474a-b3de-375720223e75" providerId="ADAL" clId="{D0183198-7876-4C7A-B1BE-BCAB6AE57610}" dt="2023-09-05T16:41:51.008" v="19512"/>
          <ac:spMkLst>
            <pc:docMk/>
            <pc:sldMk cId="2136892941" sldId="299"/>
            <ac:spMk id="95" creationId="{77173F0D-C88D-3307-FA7F-A747649B2FFA}"/>
          </ac:spMkLst>
        </pc:spChg>
        <pc:spChg chg="add del mod replST">
          <ac:chgData name="Guinn, Sarah" userId="63e3ce5a-fcc6-474a-b3de-375720223e75" providerId="ADAL" clId="{D0183198-7876-4C7A-B1BE-BCAB6AE57610}" dt="2023-09-05T16:41:51.008" v="19513"/>
          <ac:spMkLst>
            <pc:docMk/>
            <pc:sldMk cId="2136892941" sldId="299"/>
            <ac:spMk id="96" creationId="{F5B3794D-9949-7BA5-668E-CD289096192E}"/>
          </ac:spMkLst>
        </pc:spChg>
        <pc:spChg chg="add del mod">
          <ac:chgData name="Guinn, Sarah" userId="63e3ce5a-fcc6-474a-b3de-375720223e75" providerId="ADAL" clId="{D0183198-7876-4C7A-B1BE-BCAB6AE57610}" dt="2023-09-07T20:11:20.830" v="32720"/>
          <ac:spMkLst>
            <pc:docMk/>
            <pc:sldMk cId="2136892941" sldId="299"/>
            <ac:spMk id="97" creationId="{E7E23A05-BD13-5818-A6F3-ACD20CE53719}"/>
          </ac:spMkLst>
        </pc:spChg>
        <pc:spChg chg="add del mod">
          <ac:chgData name="Guinn, Sarah" userId="63e3ce5a-fcc6-474a-b3de-375720223e75" providerId="ADAL" clId="{D0183198-7876-4C7A-B1BE-BCAB6AE57610}" dt="2023-09-07T20:11:20.829" v="32718"/>
          <ac:spMkLst>
            <pc:docMk/>
            <pc:sldMk cId="2136892941" sldId="299"/>
            <ac:spMk id="98" creationId="{3100F12B-AE00-CEEF-7B3F-FCEE45ABC928}"/>
          </ac:spMkLst>
        </pc:spChg>
        <pc:spChg chg="add del mod replST">
          <ac:chgData name="Guinn, Sarah" userId="63e3ce5a-fcc6-474a-b3de-375720223e75" providerId="ADAL" clId="{D0183198-7876-4C7A-B1BE-BCAB6AE57610}" dt="2023-09-05T16:41:51.010" v="19514"/>
          <ac:spMkLst>
            <pc:docMk/>
            <pc:sldMk cId="2136892941" sldId="299"/>
            <ac:spMk id="99" creationId="{2352435A-C85F-A2AC-AE1D-97E61B0AF9E6}"/>
          </ac:spMkLst>
        </pc:spChg>
        <pc:spChg chg="add del mod replST">
          <ac:chgData name="Guinn, Sarah" userId="63e3ce5a-fcc6-474a-b3de-375720223e75" providerId="ADAL" clId="{D0183198-7876-4C7A-B1BE-BCAB6AE57610}" dt="2023-09-05T16:41:51.010" v="19515"/>
          <ac:spMkLst>
            <pc:docMk/>
            <pc:sldMk cId="2136892941" sldId="299"/>
            <ac:spMk id="100" creationId="{F1855F5D-0E31-ABF8-D68F-577FC1A3BBF1}"/>
          </ac:spMkLst>
        </pc:spChg>
        <pc:spChg chg="add del mod replST">
          <ac:chgData name="Guinn, Sarah" userId="63e3ce5a-fcc6-474a-b3de-375720223e75" providerId="ADAL" clId="{D0183198-7876-4C7A-B1BE-BCAB6AE57610}" dt="2023-09-05T16:41:51.011" v="19516"/>
          <ac:spMkLst>
            <pc:docMk/>
            <pc:sldMk cId="2136892941" sldId="299"/>
            <ac:spMk id="101" creationId="{B516F963-43B6-DA2A-3CE2-8690D11E4804}"/>
          </ac:spMkLst>
        </pc:spChg>
        <pc:spChg chg="add del mod replST">
          <ac:chgData name="Guinn, Sarah" userId="63e3ce5a-fcc6-474a-b3de-375720223e75" providerId="ADAL" clId="{D0183198-7876-4C7A-B1BE-BCAB6AE57610}" dt="2023-09-05T16:41:51.011" v="19517"/>
          <ac:spMkLst>
            <pc:docMk/>
            <pc:sldMk cId="2136892941" sldId="299"/>
            <ac:spMk id="102" creationId="{059283A0-62B2-FB3B-C85B-F4C3A35C3255}"/>
          </ac:spMkLst>
        </pc:spChg>
        <pc:spChg chg="add del mod replST">
          <ac:chgData name="Guinn, Sarah" userId="63e3ce5a-fcc6-474a-b3de-375720223e75" providerId="ADAL" clId="{D0183198-7876-4C7A-B1BE-BCAB6AE57610}" dt="2023-09-05T16:41:51.013" v="19518"/>
          <ac:spMkLst>
            <pc:docMk/>
            <pc:sldMk cId="2136892941" sldId="299"/>
            <ac:spMk id="103" creationId="{B8AB42AA-6F4A-C530-610F-70634F8855C8}"/>
          </ac:spMkLst>
        </pc:spChg>
        <pc:spChg chg="add del mod replST">
          <ac:chgData name="Guinn, Sarah" userId="63e3ce5a-fcc6-474a-b3de-375720223e75" providerId="ADAL" clId="{D0183198-7876-4C7A-B1BE-BCAB6AE57610}" dt="2023-09-05T16:41:51.014" v="19519"/>
          <ac:spMkLst>
            <pc:docMk/>
            <pc:sldMk cId="2136892941" sldId="299"/>
            <ac:spMk id="104" creationId="{B84C334B-6DEE-36D5-4A29-C76A5D4DA3C0}"/>
          </ac:spMkLst>
        </pc:spChg>
        <pc:spChg chg="add del mod replST">
          <ac:chgData name="Guinn, Sarah" userId="63e3ce5a-fcc6-474a-b3de-375720223e75" providerId="ADAL" clId="{D0183198-7876-4C7A-B1BE-BCAB6AE57610}" dt="2023-09-05T16:41:51.015" v="19520"/>
          <ac:spMkLst>
            <pc:docMk/>
            <pc:sldMk cId="2136892941" sldId="299"/>
            <ac:spMk id="105" creationId="{72C2C51F-BC07-D134-5325-48DC23F6C938}"/>
          </ac:spMkLst>
        </pc:spChg>
        <pc:spChg chg="add del mod modVis">
          <ac:chgData name="Guinn, Sarah" userId="63e3ce5a-fcc6-474a-b3de-375720223e75" providerId="ADAL" clId="{D0183198-7876-4C7A-B1BE-BCAB6AE57610}" dt="2023-09-05T16:41:51.108" v="19567"/>
          <ac:spMkLst>
            <pc:docMk/>
            <pc:sldMk cId="2136892941" sldId="299"/>
            <ac:spMk id="107" creationId="{05908F0D-6E06-CB52-F529-52FA287BDB80}"/>
          </ac:spMkLst>
        </pc:spChg>
        <pc:spChg chg="add del mod modVis">
          <ac:chgData name="Guinn, Sarah" userId="63e3ce5a-fcc6-474a-b3de-375720223e75" providerId="ADAL" clId="{D0183198-7876-4C7A-B1BE-BCAB6AE57610}" dt="2023-09-05T16:45:05.104" v="19724"/>
          <ac:spMkLst>
            <pc:docMk/>
            <pc:sldMk cId="2136892941" sldId="299"/>
            <ac:spMk id="109" creationId="{38FC6FB5-EBB8-E377-5818-0028B9635B92}"/>
          </ac:spMkLst>
        </pc:spChg>
        <pc:spChg chg="add del mod replST">
          <ac:chgData name="Guinn, Sarah" userId="63e3ce5a-fcc6-474a-b3de-375720223e75" providerId="ADAL" clId="{D0183198-7876-4C7A-B1BE-BCAB6AE57610}" dt="2023-09-07T20:11:20.832" v="32725"/>
          <ac:spMkLst>
            <pc:docMk/>
            <pc:sldMk cId="2136892941" sldId="299"/>
            <ac:spMk id="110" creationId="{8CEDD00B-19F6-1AAD-ECCF-CC0367C46EE9}"/>
          </ac:spMkLst>
        </pc:spChg>
        <pc:spChg chg="add del mod modVis">
          <ac:chgData name="Guinn, Sarah" userId="63e3ce5a-fcc6-474a-b3de-375720223e75" providerId="ADAL" clId="{D0183198-7876-4C7A-B1BE-BCAB6AE57610}" dt="2023-09-05T16:45:08.444" v="19833"/>
          <ac:spMkLst>
            <pc:docMk/>
            <pc:sldMk cId="2136892941" sldId="299"/>
            <ac:spMk id="112" creationId="{9EF1D1AA-ED16-B5D6-0020-909BB474C6AE}"/>
          </ac:spMkLst>
        </pc:spChg>
        <pc:spChg chg="add del mod modVis">
          <ac:chgData name="Guinn, Sarah" userId="63e3ce5a-fcc6-474a-b3de-375720223e75" providerId="ADAL" clId="{D0183198-7876-4C7A-B1BE-BCAB6AE57610}" dt="2023-09-05T16:45:10.790" v="19983"/>
          <ac:spMkLst>
            <pc:docMk/>
            <pc:sldMk cId="2136892941" sldId="299"/>
            <ac:spMk id="114" creationId="{4D173ECD-65E1-811A-DB91-FD47DD393070}"/>
          </ac:spMkLst>
        </pc:spChg>
        <pc:spChg chg="del mod">
          <ac:chgData name="Guinn, Sarah" userId="63e3ce5a-fcc6-474a-b3de-375720223e75" providerId="ADAL" clId="{D0183198-7876-4C7A-B1BE-BCAB6AE57610}" dt="2023-09-07T20:10:12.109" v="32512"/>
          <ac:spMkLst>
            <pc:docMk/>
            <pc:sldMk cId="2136892941" sldId="299"/>
            <ac:spMk id="115" creationId="{2F85430C-A29D-D07D-D99D-FF5BA69A82C8}"/>
          </ac:spMkLst>
        </pc:spChg>
        <pc:spChg chg="del mod">
          <ac:chgData name="Guinn, Sarah" userId="63e3ce5a-fcc6-474a-b3de-375720223e75" providerId="ADAL" clId="{D0183198-7876-4C7A-B1BE-BCAB6AE57610}" dt="2023-09-07T20:10:12.108" v="32510"/>
          <ac:spMkLst>
            <pc:docMk/>
            <pc:sldMk cId="2136892941" sldId="299"/>
            <ac:spMk id="116" creationId="{27E01F34-0FAB-ACED-7575-20452BE22E3F}"/>
          </ac:spMkLst>
        </pc:spChg>
        <pc:spChg chg="del mod">
          <ac:chgData name="Guinn, Sarah" userId="63e3ce5a-fcc6-474a-b3de-375720223e75" providerId="ADAL" clId="{D0183198-7876-4C7A-B1BE-BCAB6AE57610}" dt="2023-09-07T20:10:12.107" v="32508"/>
          <ac:spMkLst>
            <pc:docMk/>
            <pc:sldMk cId="2136892941" sldId="299"/>
            <ac:spMk id="117" creationId="{75D8E63C-8E46-5480-B76F-8040FAF5703C}"/>
          </ac:spMkLst>
        </pc:spChg>
        <pc:spChg chg="del mod">
          <ac:chgData name="Guinn, Sarah" userId="63e3ce5a-fcc6-474a-b3de-375720223e75" providerId="ADAL" clId="{D0183198-7876-4C7A-B1BE-BCAB6AE57610}" dt="2023-09-07T20:10:12.106" v="32506"/>
          <ac:spMkLst>
            <pc:docMk/>
            <pc:sldMk cId="2136892941" sldId="299"/>
            <ac:spMk id="118" creationId="{406082AF-9148-01EF-DC55-10012116387B}"/>
          </ac:spMkLst>
        </pc:spChg>
        <pc:spChg chg="del mod">
          <ac:chgData name="Guinn, Sarah" userId="63e3ce5a-fcc6-474a-b3de-375720223e75" providerId="ADAL" clId="{D0183198-7876-4C7A-B1BE-BCAB6AE57610}" dt="2023-09-07T20:10:12.105" v="32504"/>
          <ac:spMkLst>
            <pc:docMk/>
            <pc:sldMk cId="2136892941" sldId="299"/>
            <ac:spMk id="119" creationId="{954B382F-7FD5-218E-B6D8-04798FFA0E70}"/>
          </ac:spMkLst>
        </pc:spChg>
        <pc:spChg chg="add del mod replST">
          <ac:chgData name="Guinn, Sarah" userId="63e3ce5a-fcc6-474a-b3de-375720223e75" providerId="ADAL" clId="{D0183198-7876-4C7A-B1BE-BCAB6AE57610}" dt="2023-09-07T20:11:20.831" v="32723"/>
          <ac:spMkLst>
            <pc:docMk/>
            <pc:sldMk cId="2136892941" sldId="299"/>
            <ac:spMk id="120" creationId="{F3C055B5-9EFB-1C19-88C7-35073C4DC1BB}"/>
          </ac:spMkLst>
        </pc:spChg>
        <pc:spChg chg="del mod ord">
          <ac:chgData name="Guinn, Sarah" userId="63e3ce5a-fcc6-474a-b3de-375720223e75" providerId="ADAL" clId="{D0183198-7876-4C7A-B1BE-BCAB6AE57610}" dt="2023-09-05T16:29:04.064" v="13789"/>
          <ac:spMkLst>
            <pc:docMk/>
            <pc:sldMk cId="2136892941" sldId="299"/>
            <ac:spMk id="121" creationId="{8E20E7F3-52CC-7F0C-02A2-92CA3D6433AB}"/>
          </ac:spMkLst>
        </pc:spChg>
        <pc:spChg chg="del mod ord">
          <ac:chgData name="Guinn, Sarah" userId="63e3ce5a-fcc6-474a-b3de-375720223e75" providerId="ADAL" clId="{D0183198-7876-4C7A-B1BE-BCAB6AE57610}" dt="2023-09-05T16:29:04.061" v="13786"/>
          <ac:spMkLst>
            <pc:docMk/>
            <pc:sldMk cId="2136892941" sldId="299"/>
            <ac:spMk id="122" creationId="{9C8E4C0A-F777-7883-7390-8F4317CB2F67}"/>
          </ac:spMkLst>
        </pc:spChg>
        <pc:spChg chg="del mod">
          <ac:chgData name="Guinn, Sarah" userId="63e3ce5a-fcc6-474a-b3de-375720223e75" providerId="ADAL" clId="{D0183198-7876-4C7A-B1BE-BCAB6AE57610}" dt="2023-09-05T16:29:04.064" v="13790"/>
          <ac:spMkLst>
            <pc:docMk/>
            <pc:sldMk cId="2136892941" sldId="299"/>
            <ac:spMk id="124" creationId="{25827B0A-4193-A2FA-DE49-A07871D56A64}"/>
          </ac:spMkLst>
        </pc:spChg>
        <pc:spChg chg="del mod">
          <ac:chgData name="Guinn, Sarah" userId="63e3ce5a-fcc6-474a-b3de-375720223e75" providerId="ADAL" clId="{D0183198-7876-4C7A-B1BE-BCAB6AE57610}" dt="2023-09-05T16:29:04.063" v="13787"/>
          <ac:spMkLst>
            <pc:docMk/>
            <pc:sldMk cId="2136892941" sldId="299"/>
            <ac:spMk id="125" creationId="{AFF04976-6C0A-8E54-1124-583E45B63587}"/>
          </ac:spMkLst>
        </pc:spChg>
        <pc:spChg chg="add del mod modVis">
          <ac:chgData name="Guinn, Sarah" userId="63e3ce5a-fcc6-474a-b3de-375720223e75" providerId="ADAL" clId="{D0183198-7876-4C7A-B1BE-BCAB6AE57610}" dt="2023-09-05T16:45:11.920" v="20080"/>
          <ac:spMkLst>
            <pc:docMk/>
            <pc:sldMk cId="2136892941" sldId="299"/>
            <ac:spMk id="126" creationId="{6D5E6A5A-A5F7-4C4B-1CA9-F345440989CB}"/>
          </ac:spMkLst>
        </pc:spChg>
        <pc:spChg chg="add del mod replST">
          <ac:chgData name="Guinn, Sarah" userId="63e3ce5a-fcc6-474a-b3de-375720223e75" providerId="ADAL" clId="{D0183198-7876-4C7A-B1BE-BCAB6AE57610}" dt="2023-09-07T20:10:14.086" v="32525"/>
          <ac:spMkLst>
            <pc:docMk/>
            <pc:sldMk cId="2136892941" sldId="299"/>
            <ac:spMk id="224" creationId="{EEAF6686-0B33-5D01-348C-BA9D67FDF33B}"/>
          </ac:spMkLst>
        </pc:spChg>
        <pc:spChg chg="add del mod replST">
          <ac:chgData name="Guinn, Sarah" userId="63e3ce5a-fcc6-474a-b3de-375720223e75" providerId="ADAL" clId="{D0183198-7876-4C7A-B1BE-BCAB6AE57610}" dt="2023-09-07T20:10:14.086" v="32523"/>
          <ac:spMkLst>
            <pc:docMk/>
            <pc:sldMk cId="2136892941" sldId="299"/>
            <ac:spMk id="225" creationId="{91B841EA-DBAF-CBEA-EB8A-90E827EE5865}"/>
          </ac:spMkLst>
        </pc:spChg>
        <pc:spChg chg="add del mod replST">
          <ac:chgData name="Guinn, Sarah" userId="63e3ce5a-fcc6-474a-b3de-375720223e75" providerId="ADAL" clId="{D0183198-7876-4C7A-B1BE-BCAB6AE57610}" dt="2023-09-07T20:10:14.085" v="32521"/>
          <ac:spMkLst>
            <pc:docMk/>
            <pc:sldMk cId="2136892941" sldId="299"/>
            <ac:spMk id="226" creationId="{7AE31A69-1596-6C04-D10D-6250D9EA6F49}"/>
          </ac:spMkLst>
        </pc:spChg>
        <pc:spChg chg="add del mod modVis">
          <ac:chgData name="Guinn, Sarah" userId="63e3ce5a-fcc6-474a-b3de-375720223e75" providerId="ADAL" clId="{D0183198-7876-4C7A-B1BE-BCAB6AE57610}" dt="2023-09-07T20:08:47.386" v="30154"/>
          <ac:spMkLst>
            <pc:docMk/>
            <pc:sldMk cId="2136892941" sldId="299"/>
            <ac:spMk id="227" creationId="{253BC0A1-66D6-8E63-F55A-9BF14814001A}"/>
          </ac:spMkLst>
        </pc:spChg>
        <pc:spChg chg="add del mod ord replST">
          <ac:chgData name="Guinn, Sarah" userId="63e3ce5a-fcc6-474a-b3de-375720223e75" providerId="ADAL" clId="{D0183198-7876-4C7A-B1BE-BCAB6AE57610}" dt="2023-09-05T16:29:06.821" v="13803"/>
          <ac:spMkLst>
            <pc:docMk/>
            <pc:sldMk cId="2136892941" sldId="299"/>
            <ac:spMk id="227" creationId="{E7AD698B-2BE7-F154-79B3-D9297E88D90D}"/>
          </ac:spMkLst>
        </pc:spChg>
        <pc:spChg chg="add del mod ord replST">
          <ac:chgData name="Guinn, Sarah" userId="63e3ce5a-fcc6-474a-b3de-375720223e75" providerId="ADAL" clId="{D0183198-7876-4C7A-B1BE-BCAB6AE57610}" dt="2023-09-05T16:29:06.819" v="13800"/>
          <ac:spMkLst>
            <pc:docMk/>
            <pc:sldMk cId="2136892941" sldId="299"/>
            <ac:spMk id="228" creationId="{7B8E28EE-D327-663E-5586-D0FDF5F3664B}"/>
          </ac:spMkLst>
        </pc:spChg>
        <pc:spChg chg="add del mod replST">
          <ac:chgData name="Guinn, Sarah" userId="63e3ce5a-fcc6-474a-b3de-375720223e75" providerId="ADAL" clId="{D0183198-7876-4C7A-B1BE-BCAB6AE57610}" dt="2023-09-05T16:29:06.821" v="13804"/>
          <ac:spMkLst>
            <pc:docMk/>
            <pc:sldMk cId="2136892941" sldId="299"/>
            <ac:spMk id="229" creationId="{3893D0BE-4F80-8199-8EEC-B79B37B7DF53}"/>
          </ac:spMkLst>
        </pc:spChg>
        <pc:spChg chg="add del mod modVis">
          <ac:chgData name="Guinn, Sarah" userId="63e3ce5a-fcc6-474a-b3de-375720223e75" providerId="ADAL" clId="{D0183198-7876-4C7A-B1BE-BCAB6AE57610}" dt="2023-09-07T20:08:53.410" v="30395"/>
          <ac:spMkLst>
            <pc:docMk/>
            <pc:sldMk cId="2136892941" sldId="299"/>
            <ac:spMk id="230" creationId="{41080ADB-0054-9F91-3EDE-41940F988E54}"/>
          </ac:spMkLst>
        </pc:spChg>
        <pc:spChg chg="add del mod replST">
          <ac:chgData name="Guinn, Sarah" userId="63e3ce5a-fcc6-474a-b3de-375720223e75" providerId="ADAL" clId="{D0183198-7876-4C7A-B1BE-BCAB6AE57610}" dt="2023-09-05T16:29:06.820" v="13801"/>
          <ac:spMkLst>
            <pc:docMk/>
            <pc:sldMk cId="2136892941" sldId="299"/>
            <ac:spMk id="230" creationId="{93E02979-8BE8-A716-41FE-727728C1C1FB}"/>
          </ac:spMkLst>
        </pc:spChg>
        <pc:spChg chg="add del mod modVis">
          <ac:chgData name="Guinn, Sarah" userId="63e3ce5a-fcc6-474a-b3de-375720223e75" providerId="ADAL" clId="{D0183198-7876-4C7A-B1BE-BCAB6AE57610}" dt="2023-09-05T16:29:01.500" v="13782"/>
          <ac:spMkLst>
            <pc:docMk/>
            <pc:sldMk cId="2136892941" sldId="299"/>
            <ac:spMk id="231" creationId="{74B3A43F-8968-2FB7-F34E-F9DDFC4ADA8D}"/>
          </ac:spMkLst>
        </pc:spChg>
        <pc:spChg chg="add del mod modVis">
          <ac:chgData name="Guinn, Sarah" userId="63e3ce5a-fcc6-474a-b3de-375720223e75" providerId="ADAL" clId="{D0183198-7876-4C7A-B1BE-BCAB6AE57610}" dt="2023-09-07T20:08:55.573" v="30526"/>
          <ac:spMkLst>
            <pc:docMk/>
            <pc:sldMk cId="2136892941" sldId="299"/>
            <ac:spMk id="233" creationId="{6233D34F-8FA9-2889-E268-12B3A72D643C}"/>
          </ac:spMkLst>
        </pc:spChg>
        <pc:spChg chg="add del mod modVis">
          <ac:chgData name="Guinn, Sarah" userId="63e3ce5a-fcc6-474a-b3de-375720223e75" providerId="ADAL" clId="{D0183198-7876-4C7A-B1BE-BCAB6AE57610}" dt="2023-09-05T16:29:22.694" v="14022"/>
          <ac:spMkLst>
            <pc:docMk/>
            <pc:sldMk cId="2136892941" sldId="299"/>
            <ac:spMk id="233" creationId="{AB9449C4-1EBA-3CCD-F2EC-E3C7D96F9991}"/>
          </ac:spMkLst>
        </pc:spChg>
        <pc:spChg chg="add del mod modVis">
          <ac:chgData name="Guinn, Sarah" userId="63e3ce5a-fcc6-474a-b3de-375720223e75" providerId="ADAL" clId="{D0183198-7876-4C7A-B1BE-BCAB6AE57610}" dt="2023-09-07T20:08:58.304" v="30653"/>
          <ac:spMkLst>
            <pc:docMk/>
            <pc:sldMk cId="2136892941" sldId="299"/>
            <ac:spMk id="235" creationId="{5441C037-8A2E-7440-FC5A-868048ABAAD7}"/>
          </ac:spMkLst>
        </pc:spChg>
        <pc:spChg chg="add del mod modVis">
          <ac:chgData name="Guinn, Sarah" userId="63e3ce5a-fcc6-474a-b3de-375720223e75" providerId="ADAL" clId="{D0183198-7876-4C7A-B1BE-BCAB6AE57610}" dt="2023-09-05T16:29:30.534" v="14127"/>
          <ac:spMkLst>
            <pc:docMk/>
            <pc:sldMk cId="2136892941" sldId="299"/>
            <ac:spMk id="235" creationId="{9B558F95-B0DE-315C-030D-60F3BA14C73C}"/>
          </ac:spMkLst>
        </pc:spChg>
        <pc:spChg chg="del mod">
          <ac:chgData name="Guinn, Sarah" userId="63e3ce5a-fcc6-474a-b3de-375720223e75" providerId="ADAL" clId="{D0183198-7876-4C7A-B1BE-BCAB6AE57610}" dt="2023-09-05T16:29:09.673" v="13812"/>
          <ac:spMkLst>
            <pc:docMk/>
            <pc:sldMk cId="2136892941" sldId="299"/>
            <ac:spMk id="236" creationId="{EF15CC2C-5E78-D2ED-B45C-0B81C5B8E085}"/>
          </ac:spMkLst>
        </pc:spChg>
        <pc:spChg chg="add del mod modVis">
          <ac:chgData name="Guinn, Sarah" userId="63e3ce5a-fcc6-474a-b3de-375720223e75" providerId="ADAL" clId="{D0183198-7876-4C7A-B1BE-BCAB6AE57610}" dt="2023-09-07T20:08:59.845" v="30778"/>
          <ac:spMkLst>
            <pc:docMk/>
            <pc:sldMk cId="2136892941" sldId="299"/>
            <ac:spMk id="237" creationId="{8FEBA96C-02DB-0A65-22BA-AF00EDDA5D32}"/>
          </ac:spMkLst>
        </pc:spChg>
        <pc:spChg chg="add del mod modVis">
          <ac:chgData name="Guinn, Sarah" userId="63e3ce5a-fcc6-474a-b3de-375720223e75" providerId="ADAL" clId="{D0183198-7876-4C7A-B1BE-BCAB6AE57610}" dt="2023-09-05T16:29:34.221" v="14225"/>
          <ac:spMkLst>
            <pc:docMk/>
            <pc:sldMk cId="2136892941" sldId="299"/>
            <ac:spMk id="238" creationId="{5CD8E357-5140-DAB2-2A94-2E26DC3F4865}"/>
          </ac:spMkLst>
        </pc:spChg>
        <pc:spChg chg="del mod">
          <ac:chgData name="Guinn, Sarah" userId="63e3ce5a-fcc6-474a-b3de-375720223e75" providerId="ADAL" clId="{D0183198-7876-4C7A-B1BE-BCAB6AE57610}" dt="2023-09-05T16:29:09.671" v="13811"/>
          <ac:spMkLst>
            <pc:docMk/>
            <pc:sldMk cId="2136892941" sldId="299"/>
            <ac:spMk id="239" creationId="{0F3703B8-DB60-F57D-7801-39DE34F3FE81}"/>
          </ac:spMkLst>
        </pc:spChg>
        <pc:spChg chg="add mod replST">
          <ac:chgData name="Guinn, Sarah" userId="63e3ce5a-fcc6-474a-b3de-375720223e75" providerId="ADAL" clId="{D0183198-7876-4C7A-B1BE-BCAB6AE57610}" dt="2023-09-07T20:30:09.075" v="35219"/>
          <ac:spMkLst>
            <pc:docMk/>
            <pc:sldMk cId="2136892941" sldId="299"/>
            <ac:spMk id="239" creationId="{AFCDF5BE-2DD2-790A-74F2-24688C56EB29}"/>
          </ac:spMkLst>
        </pc:spChg>
        <pc:spChg chg="add del mod modVis">
          <ac:chgData name="Guinn, Sarah" userId="63e3ce5a-fcc6-474a-b3de-375720223e75" providerId="ADAL" clId="{D0183198-7876-4C7A-B1BE-BCAB6AE57610}" dt="2023-09-07T20:09:01.044" v="30941"/>
          <ac:spMkLst>
            <pc:docMk/>
            <pc:sldMk cId="2136892941" sldId="299"/>
            <ac:spMk id="240" creationId="{7BEE6716-4715-0CF8-2148-1E8C3F94C64C}"/>
          </ac:spMkLst>
        </pc:spChg>
        <pc:spChg chg="del mod">
          <ac:chgData name="Guinn, Sarah" userId="63e3ce5a-fcc6-474a-b3de-375720223e75" providerId="ADAL" clId="{D0183198-7876-4C7A-B1BE-BCAB6AE57610}" dt="2023-09-05T16:31:49.783" v="16021"/>
          <ac:spMkLst>
            <pc:docMk/>
            <pc:sldMk cId="2136892941" sldId="299"/>
            <ac:spMk id="241" creationId="{B24C0FDD-20D9-6872-6C48-80C444D0C47A}"/>
          </ac:spMkLst>
        </pc:spChg>
        <pc:spChg chg="add del mod modVis">
          <ac:chgData name="Guinn, Sarah" userId="63e3ce5a-fcc6-474a-b3de-375720223e75" providerId="ADAL" clId="{D0183198-7876-4C7A-B1BE-BCAB6AE57610}" dt="2023-09-05T16:29:36.948" v="14324"/>
          <ac:spMkLst>
            <pc:docMk/>
            <pc:sldMk cId="2136892941" sldId="299"/>
            <ac:spMk id="242" creationId="{00FEA298-9323-3D2D-8FFC-6B7045B1728F}"/>
          </ac:spMkLst>
        </pc:spChg>
        <pc:spChg chg="add mod replST">
          <ac:chgData name="Guinn, Sarah" userId="63e3ce5a-fcc6-474a-b3de-375720223e75" providerId="ADAL" clId="{D0183198-7876-4C7A-B1BE-BCAB6AE57610}" dt="2023-09-07T20:30:09.075" v="35218"/>
          <ac:spMkLst>
            <pc:docMk/>
            <pc:sldMk cId="2136892941" sldId="299"/>
            <ac:spMk id="243" creationId="{686E8F88-FC40-5D8C-C71F-82965A68EF0A}"/>
          </ac:spMkLst>
        </pc:spChg>
        <pc:spChg chg="add del mod modVis">
          <ac:chgData name="Guinn, Sarah" userId="63e3ce5a-fcc6-474a-b3de-375720223e75" providerId="ADAL" clId="{D0183198-7876-4C7A-B1BE-BCAB6AE57610}" dt="2023-09-05T16:29:40.833" v="14419"/>
          <ac:spMkLst>
            <pc:docMk/>
            <pc:sldMk cId="2136892941" sldId="299"/>
            <ac:spMk id="244" creationId="{694F1C71-1621-DF31-10BD-6B00150BF8CB}"/>
          </ac:spMkLst>
        </pc:spChg>
        <pc:spChg chg="add del mod modVis">
          <ac:chgData name="Guinn, Sarah" userId="63e3ce5a-fcc6-474a-b3de-375720223e75" providerId="ADAL" clId="{D0183198-7876-4C7A-B1BE-BCAB6AE57610}" dt="2023-09-07T20:09:02.269" v="31108"/>
          <ac:spMkLst>
            <pc:docMk/>
            <pc:sldMk cId="2136892941" sldId="299"/>
            <ac:spMk id="244" creationId="{800DCAC5-C1FD-36D1-0553-C88B3A48C85C}"/>
          </ac:spMkLst>
        </pc:spChg>
        <pc:spChg chg="add del mod modVis">
          <ac:chgData name="Guinn, Sarah" userId="63e3ce5a-fcc6-474a-b3de-375720223e75" providerId="ADAL" clId="{D0183198-7876-4C7A-B1BE-BCAB6AE57610}" dt="2023-09-05T16:29:47.411" v="14513"/>
          <ac:spMkLst>
            <pc:docMk/>
            <pc:sldMk cId="2136892941" sldId="299"/>
            <ac:spMk id="246" creationId="{39394D35-2D09-2715-38C8-D1D7D0703B13}"/>
          </ac:spMkLst>
        </pc:spChg>
        <pc:spChg chg="add del mod modVis">
          <ac:chgData name="Guinn, Sarah" userId="63e3ce5a-fcc6-474a-b3de-375720223e75" providerId="ADAL" clId="{D0183198-7876-4C7A-B1BE-BCAB6AE57610}" dt="2023-09-07T20:09:11.109" v="31280"/>
          <ac:spMkLst>
            <pc:docMk/>
            <pc:sldMk cId="2136892941" sldId="299"/>
            <ac:spMk id="247" creationId="{21D13CB6-0A33-27FB-BD38-A6DCA4E7D92B}"/>
          </ac:spMkLst>
        </pc:spChg>
        <pc:spChg chg="del mod">
          <ac:chgData name="Guinn, Sarah" userId="63e3ce5a-fcc6-474a-b3de-375720223e75" providerId="ADAL" clId="{D0183198-7876-4C7A-B1BE-BCAB6AE57610}" dt="2023-09-05T16:31:52.273" v="16108"/>
          <ac:spMkLst>
            <pc:docMk/>
            <pc:sldMk cId="2136892941" sldId="299"/>
            <ac:spMk id="248" creationId="{77B1171A-7FC9-7ACD-E145-F43F3188DEA3}"/>
          </ac:spMkLst>
        </pc:spChg>
        <pc:spChg chg="add del mod modVis">
          <ac:chgData name="Guinn, Sarah" userId="63e3ce5a-fcc6-474a-b3de-375720223e75" providerId="ADAL" clId="{D0183198-7876-4C7A-B1BE-BCAB6AE57610}" dt="2023-09-05T16:29:58.338" v="14703"/>
          <ac:spMkLst>
            <pc:docMk/>
            <pc:sldMk cId="2136892941" sldId="299"/>
            <ac:spMk id="249" creationId="{6E56B8A2-AD53-984D-8A9A-11A11E576311}"/>
          </ac:spMkLst>
        </pc:spChg>
        <pc:spChg chg="add del mod modVis">
          <ac:chgData name="Guinn, Sarah" userId="63e3ce5a-fcc6-474a-b3de-375720223e75" providerId="ADAL" clId="{D0183198-7876-4C7A-B1BE-BCAB6AE57610}" dt="2023-09-07T20:09:12.211" v="31475"/>
          <ac:spMkLst>
            <pc:docMk/>
            <pc:sldMk cId="2136892941" sldId="299"/>
            <ac:spMk id="250" creationId="{C1266493-2EEA-E5F0-7207-890FCF7CCBAA}"/>
          </ac:spMkLst>
        </pc:spChg>
        <pc:spChg chg="add del mod modVis">
          <ac:chgData name="Guinn, Sarah" userId="63e3ce5a-fcc6-474a-b3de-375720223e75" providerId="ADAL" clId="{D0183198-7876-4C7A-B1BE-BCAB6AE57610}" dt="2023-09-05T16:30:04.403" v="14789"/>
          <ac:spMkLst>
            <pc:docMk/>
            <pc:sldMk cId="2136892941" sldId="299"/>
            <ac:spMk id="251" creationId="{4495B325-9D85-5B76-B5B7-92CC1E9C7835}"/>
          </ac:spMkLst>
        </pc:spChg>
        <pc:spChg chg="add del mod ord replST">
          <ac:chgData name="Guinn, Sarah" userId="63e3ce5a-fcc6-474a-b3de-375720223e75" providerId="ADAL" clId="{D0183198-7876-4C7A-B1BE-BCAB6AE57610}" dt="2023-09-07T20:09:58.843" v="32331"/>
          <ac:spMkLst>
            <pc:docMk/>
            <pc:sldMk cId="2136892941" sldId="299"/>
            <ac:spMk id="251" creationId="{8F8014C6-AB72-9E22-E392-9DBBE5336984}"/>
          </ac:spMkLst>
        </pc:spChg>
        <pc:spChg chg="add del mod modVis">
          <ac:chgData name="Guinn, Sarah" userId="63e3ce5a-fcc6-474a-b3de-375720223e75" providerId="ADAL" clId="{D0183198-7876-4C7A-B1BE-BCAB6AE57610}" dt="2023-09-07T20:09:13.076" v="31669"/>
          <ac:spMkLst>
            <pc:docMk/>
            <pc:sldMk cId="2136892941" sldId="299"/>
            <ac:spMk id="253" creationId="{26428686-9CB1-8286-AF89-439AE68FE35E}"/>
          </ac:spMkLst>
        </pc:spChg>
        <pc:spChg chg="add del mod modVis">
          <ac:chgData name="Guinn, Sarah" userId="63e3ce5a-fcc6-474a-b3de-375720223e75" providerId="ADAL" clId="{D0183198-7876-4C7A-B1BE-BCAB6AE57610}" dt="2023-09-05T16:30:13.159" v="14875"/>
          <ac:spMkLst>
            <pc:docMk/>
            <pc:sldMk cId="2136892941" sldId="299"/>
            <ac:spMk id="253" creationId="{66FB9F72-EB9F-CB6F-9B4A-CEB5E03BCCCA}"/>
          </ac:spMkLst>
        </pc:spChg>
        <pc:spChg chg="add del mod modVis">
          <ac:chgData name="Guinn, Sarah" userId="63e3ce5a-fcc6-474a-b3de-375720223e75" providerId="ADAL" clId="{D0183198-7876-4C7A-B1BE-BCAB6AE57610}" dt="2023-09-05T16:30:19.258" v="14961"/>
          <ac:spMkLst>
            <pc:docMk/>
            <pc:sldMk cId="2136892941" sldId="299"/>
            <ac:spMk id="256" creationId="{80355198-74F9-4C6B-9BEE-92BEDC2F261E}"/>
          </ac:spMkLst>
        </pc:spChg>
        <pc:spChg chg="add del mod modVis">
          <ac:chgData name="Guinn, Sarah" userId="63e3ce5a-fcc6-474a-b3de-375720223e75" providerId="ADAL" clId="{D0183198-7876-4C7A-B1BE-BCAB6AE57610}" dt="2023-09-07T20:09:14.058" v="31867"/>
          <ac:spMkLst>
            <pc:docMk/>
            <pc:sldMk cId="2136892941" sldId="299"/>
            <ac:spMk id="257" creationId="{3BA09361-8BBC-C7A3-0869-EA78F7A850A7}"/>
          </ac:spMkLst>
        </pc:spChg>
        <pc:spChg chg="add del mod modVis">
          <ac:chgData name="Guinn, Sarah" userId="63e3ce5a-fcc6-474a-b3de-375720223e75" providerId="ADAL" clId="{D0183198-7876-4C7A-B1BE-BCAB6AE57610}" dt="2023-09-05T16:30:26.669" v="15047"/>
          <ac:spMkLst>
            <pc:docMk/>
            <pc:sldMk cId="2136892941" sldId="299"/>
            <ac:spMk id="258" creationId="{0FBF9A1B-3011-6C3B-2F9D-EA4756E8AA18}"/>
          </ac:spMkLst>
        </pc:spChg>
        <pc:spChg chg="add del mod ord replST">
          <ac:chgData name="Guinn, Sarah" userId="63e3ce5a-fcc6-474a-b3de-375720223e75" providerId="ADAL" clId="{D0183198-7876-4C7A-B1BE-BCAB6AE57610}" dt="2023-09-07T20:09:58.849" v="32335"/>
          <ac:spMkLst>
            <pc:docMk/>
            <pc:sldMk cId="2136892941" sldId="299"/>
            <ac:spMk id="258" creationId="{89C6F0CF-9C12-D191-2ADD-EB99350BD183}"/>
          </ac:spMkLst>
        </pc:spChg>
        <pc:spChg chg="add del mod modVis">
          <ac:chgData name="Guinn, Sarah" userId="63e3ce5a-fcc6-474a-b3de-375720223e75" providerId="ADAL" clId="{D0183198-7876-4C7A-B1BE-BCAB6AE57610}" dt="2023-09-07T20:09:15.013" v="32035"/>
          <ac:spMkLst>
            <pc:docMk/>
            <pc:sldMk cId="2136892941" sldId="299"/>
            <ac:spMk id="260" creationId="{A1598538-7EA4-1FC2-3EB7-83E12ABA847D}"/>
          </ac:spMkLst>
        </pc:spChg>
        <pc:spChg chg="add del mod modVis">
          <ac:chgData name="Guinn, Sarah" userId="63e3ce5a-fcc6-474a-b3de-375720223e75" providerId="ADAL" clId="{D0183198-7876-4C7A-B1BE-BCAB6AE57610}" dt="2023-09-05T16:30:34.079" v="15133"/>
          <ac:spMkLst>
            <pc:docMk/>
            <pc:sldMk cId="2136892941" sldId="299"/>
            <ac:spMk id="261" creationId="{0F4A38DE-27F8-F0EC-02F1-308CD8EF9210}"/>
          </ac:spMkLst>
        </pc:spChg>
        <pc:spChg chg="add del mod modVis">
          <ac:chgData name="Guinn, Sarah" userId="63e3ce5a-fcc6-474a-b3de-375720223e75" providerId="ADAL" clId="{D0183198-7876-4C7A-B1BE-BCAB6AE57610}" dt="2023-09-05T16:30:39.156" v="15219"/>
          <ac:spMkLst>
            <pc:docMk/>
            <pc:sldMk cId="2136892941" sldId="299"/>
            <ac:spMk id="263" creationId="{3F9E43C0-63E9-187C-EFA7-975986077958}"/>
          </ac:spMkLst>
        </pc:spChg>
        <pc:spChg chg="add del mod modVis">
          <ac:chgData name="Guinn, Sarah" userId="63e3ce5a-fcc6-474a-b3de-375720223e75" providerId="ADAL" clId="{D0183198-7876-4C7A-B1BE-BCAB6AE57610}" dt="2023-09-07T20:09:33.190" v="32174"/>
          <ac:spMkLst>
            <pc:docMk/>
            <pc:sldMk cId="2136892941" sldId="299"/>
            <ac:spMk id="263" creationId="{5D3F669B-D48F-CEDA-669C-4156BB626821}"/>
          </ac:spMkLst>
        </pc:spChg>
        <pc:spChg chg="add del mod modVis">
          <ac:chgData name="Guinn, Sarah" userId="63e3ce5a-fcc6-474a-b3de-375720223e75" providerId="ADAL" clId="{D0183198-7876-4C7A-B1BE-BCAB6AE57610}" dt="2023-09-05T16:30:48.442" v="15305"/>
          <ac:spMkLst>
            <pc:docMk/>
            <pc:sldMk cId="2136892941" sldId="299"/>
            <ac:spMk id="265" creationId="{7346DC3D-8407-52B5-1B36-A40FE11A79BE}"/>
          </ac:spMkLst>
        </pc:spChg>
        <pc:spChg chg="add del mod modVis">
          <ac:chgData name="Guinn, Sarah" userId="63e3ce5a-fcc6-474a-b3de-375720223e75" providerId="ADAL" clId="{D0183198-7876-4C7A-B1BE-BCAB6AE57610}" dt="2023-09-07T20:09:52.290" v="32313"/>
          <ac:spMkLst>
            <pc:docMk/>
            <pc:sldMk cId="2136892941" sldId="299"/>
            <ac:spMk id="265" creationId="{85E6CE17-EB3D-A3BD-68B0-FA42C6260AA4}"/>
          </ac:spMkLst>
        </pc:spChg>
        <pc:spChg chg="add del mod modVis">
          <ac:chgData name="Guinn, Sarah" userId="63e3ce5a-fcc6-474a-b3de-375720223e75" providerId="ADAL" clId="{D0183198-7876-4C7A-B1BE-BCAB6AE57610}" dt="2023-09-05T16:30:59.800" v="15391"/>
          <ac:spMkLst>
            <pc:docMk/>
            <pc:sldMk cId="2136892941" sldId="299"/>
            <ac:spMk id="267" creationId="{9026474F-5D95-7CCE-1A63-8B8113D9305C}"/>
          </ac:spMkLst>
        </pc:spChg>
        <pc:spChg chg="add del mod modVis">
          <ac:chgData name="Guinn, Sarah" userId="63e3ce5a-fcc6-474a-b3de-375720223e75" providerId="ADAL" clId="{D0183198-7876-4C7A-B1BE-BCAB6AE57610}" dt="2023-09-05T16:31:04.217" v="15489"/>
          <ac:spMkLst>
            <pc:docMk/>
            <pc:sldMk cId="2136892941" sldId="299"/>
            <ac:spMk id="269" creationId="{9ED0C229-0614-FF35-6396-A9A4988D5E27}"/>
          </ac:spMkLst>
        </pc:spChg>
        <pc:spChg chg="add del mod modVis">
          <ac:chgData name="Guinn, Sarah" userId="63e3ce5a-fcc6-474a-b3de-375720223e75" providerId="ADAL" clId="{D0183198-7876-4C7A-B1BE-BCAB6AE57610}" dt="2023-09-07T20:11:20.891" v="32753"/>
          <ac:spMkLst>
            <pc:docMk/>
            <pc:sldMk cId="2136892941" sldId="299"/>
            <ac:spMk id="269" creationId="{A45F93C8-E153-E8A5-482F-FA444615C340}"/>
          </ac:spMkLst>
        </pc:spChg>
        <pc:spChg chg="add del mod modVis">
          <ac:chgData name="Guinn, Sarah" userId="63e3ce5a-fcc6-474a-b3de-375720223e75" providerId="ADAL" clId="{D0183198-7876-4C7A-B1BE-BCAB6AE57610}" dt="2023-09-07T20:11:26.218" v="32971"/>
          <ac:spMkLst>
            <pc:docMk/>
            <pc:sldMk cId="2136892941" sldId="299"/>
            <ac:spMk id="270" creationId="{EC530BE3-B7FC-2B02-EAC3-C2F182F0E6A1}"/>
          </ac:spMkLst>
        </pc:spChg>
        <pc:spChg chg="add del mod modVis">
          <ac:chgData name="Guinn, Sarah" userId="63e3ce5a-fcc6-474a-b3de-375720223e75" providerId="ADAL" clId="{D0183198-7876-4C7A-B1BE-BCAB6AE57610}" dt="2023-09-05T16:31:13.197" v="15587"/>
          <ac:spMkLst>
            <pc:docMk/>
            <pc:sldMk cId="2136892941" sldId="299"/>
            <ac:spMk id="271" creationId="{D8CA068B-33B5-CC32-6A66-F91F6FE07B4D}"/>
          </ac:spMkLst>
        </pc:spChg>
        <pc:spChg chg="add del mod modVis">
          <ac:chgData name="Guinn, Sarah" userId="63e3ce5a-fcc6-474a-b3de-375720223e75" providerId="ADAL" clId="{D0183198-7876-4C7A-B1BE-BCAB6AE57610}" dt="2023-09-05T16:31:22.367" v="15673"/>
          <ac:spMkLst>
            <pc:docMk/>
            <pc:sldMk cId="2136892941" sldId="299"/>
            <ac:spMk id="273" creationId="{327855CF-399D-624A-1B70-5CB0C5926C73}"/>
          </ac:spMkLst>
        </pc:spChg>
        <pc:spChg chg="add del mod modVis">
          <ac:chgData name="Guinn, Sarah" userId="63e3ce5a-fcc6-474a-b3de-375720223e75" providerId="ADAL" clId="{D0183198-7876-4C7A-B1BE-BCAB6AE57610}" dt="2023-09-05T16:31:26.847" v="15759"/>
          <ac:spMkLst>
            <pc:docMk/>
            <pc:sldMk cId="2136892941" sldId="299"/>
            <ac:spMk id="275" creationId="{16AEAEFC-5769-BE23-DF6E-E9A70C0AE7CF}"/>
          </ac:spMkLst>
        </pc:spChg>
        <pc:spChg chg="add del mod modVis">
          <ac:chgData name="Guinn, Sarah" userId="63e3ce5a-fcc6-474a-b3de-375720223e75" providerId="ADAL" clId="{D0183198-7876-4C7A-B1BE-BCAB6AE57610}" dt="2023-09-05T16:31:30.604" v="15845"/>
          <ac:spMkLst>
            <pc:docMk/>
            <pc:sldMk cId="2136892941" sldId="299"/>
            <ac:spMk id="277" creationId="{1006D902-7603-3CF1-DA67-F7990A3254DE}"/>
          </ac:spMkLst>
        </pc:spChg>
        <pc:spChg chg="add del mod modVis">
          <ac:chgData name="Guinn, Sarah" userId="63e3ce5a-fcc6-474a-b3de-375720223e75" providerId="ADAL" clId="{D0183198-7876-4C7A-B1BE-BCAB6AE57610}" dt="2023-09-05T16:31:34.660" v="15931"/>
          <ac:spMkLst>
            <pc:docMk/>
            <pc:sldMk cId="2136892941" sldId="299"/>
            <ac:spMk id="279" creationId="{8345BD30-ADAC-9D19-202A-CDD64005EEC2}"/>
          </ac:spMkLst>
        </pc:spChg>
        <pc:spChg chg="add del mod ord replST">
          <ac:chgData name="Guinn, Sarah" userId="63e3ce5a-fcc6-474a-b3de-375720223e75" providerId="ADAL" clId="{D0183198-7876-4C7A-B1BE-BCAB6AE57610}" dt="2023-09-07T20:13:15.147" v="33816"/>
          <ac:spMkLst>
            <pc:docMk/>
            <pc:sldMk cId="2136892941" sldId="299"/>
            <ac:spMk id="279" creationId="{88039C35-5071-4732-BDBF-558C0CF70775}"/>
          </ac:spMkLst>
        </pc:spChg>
        <pc:spChg chg="add del mod modVis">
          <ac:chgData name="Guinn, Sarah" userId="63e3ce5a-fcc6-474a-b3de-375720223e75" providerId="ADAL" clId="{D0183198-7876-4C7A-B1BE-BCAB6AE57610}" dt="2023-09-07T20:12:57.909" v="33584"/>
          <ac:spMkLst>
            <pc:docMk/>
            <pc:sldMk cId="2136892941" sldId="299"/>
            <ac:spMk id="280" creationId="{4AC0C113-0A75-EC72-D485-40C8BA3E1409}"/>
          </ac:spMkLst>
        </pc:spChg>
        <pc:spChg chg="add del mod modVis">
          <ac:chgData name="Guinn, Sarah" userId="63e3ce5a-fcc6-474a-b3de-375720223e75" providerId="ADAL" clId="{D0183198-7876-4C7A-B1BE-BCAB6AE57610}" dt="2023-09-05T16:31:37.908" v="16017"/>
          <ac:spMkLst>
            <pc:docMk/>
            <pc:sldMk cId="2136892941" sldId="299"/>
            <ac:spMk id="281" creationId="{775D126C-78FD-FBA3-9AAD-38F275D469E1}"/>
          </ac:spMkLst>
        </pc:spChg>
        <pc:spChg chg="add del mod ord">
          <ac:chgData name="Guinn, Sarah" userId="63e3ce5a-fcc6-474a-b3de-375720223e75" providerId="ADAL" clId="{D0183198-7876-4C7A-B1BE-BCAB6AE57610}" dt="2023-09-07T20:12:08.589" v="33332" actId="478"/>
          <ac:spMkLst>
            <pc:docMk/>
            <pc:sldMk cId="2136892941" sldId="299"/>
            <ac:spMk id="283" creationId="{8AD7F0D3-CC23-0984-D9F5-3E0B5D6CC308}"/>
          </ac:spMkLst>
        </pc:spChg>
        <pc:spChg chg="add del mod modVis">
          <ac:chgData name="Guinn, Sarah" userId="63e3ce5a-fcc6-474a-b3de-375720223e75" providerId="ADAL" clId="{D0183198-7876-4C7A-B1BE-BCAB6AE57610}" dt="2023-09-05T16:31:49.905" v="16105"/>
          <ac:spMkLst>
            <pc:docMk/>
            <pc:sldMk cId="2136892941" sldId="299"/>
            <ac:spMk id="284" creationId="{B50D5563-3A6E-B9D2-B45B-2076C44E499E}"/>
          </ac:spMkLst>
        </pc:spChg>
        <pc:spChg chg="add del mod modVis">
          <ac:chgData name="Guinn, Sarah" userId="63e3ce5a-fcc6-474a-b3de-375720223e75" providerId="ADAL" clId="{D0183198-7876-4C7A-B1BE-BCAB6AE57610}" dt="2023-09-05T16:31:52.370" v="16191"/>
          <ac:spMkLst>
            <pc:docMk/>
            <pc:sldMk cId="2136892941" sldId="299"/>
            <ac:spMk id="286" creationId="{156E7840-9060-A3D5-562D-F02F9D744E99}"/>
          </ac:spMkLst>
        </pc:spChg>
        <pc:spChg chg="add del mod modVis">
          <ac:chgData name="Guinn, Sarah" userId="63e3ce5a-fcc6-474a-b3de-375720223e75" providerId="ADAL" clId="{D0183198-7876-4C7A-B1BE-BCAB6AE57610}" dt="2023-09-07T20:13:58.877" v="33948"/>
          <ac:spMkLst>
            <pc:docMk/>
            <pc:sldMk cId="2136892941" sldId="299"/>
            <ac:spMk id="286" creationId="{2EE0027F-E338-F35F-B455-0E54406B82EB}"/>
          </ac:spMkLst>
        </pc:spChg>
        <pc:spChg chg="add del mod modVis">
          <ac:chgData name="Guinn, Sarah" userId="63e3ce5a-fcc6-474a-b3de-375720223e75" providerId="ADAL" clId="{D0183198-7876-4C7A-B1BE-BCAB6AE57610}" dt="2023-09-05T16:45:13.135" v="20232"/>
          <ac:spMkLst>
            <pc:docMk/>
            <pc:sldMk cId="2136892941" sldId="299"/>
            <ac:spMk id="288" creationId="{0A764069-3B3D-306F-86EC-034C070660C3}"/>
          </ac:spMkLst>
        </pc:spChg>
        <pc:spChg chg="add del mod replST">
          <ac:chgData name="Guinn, Sarah" userId="63e3ce5a-fcc6-474a-b3de-375720223e75" providerId="ADAL" clId="{D0183198-7876-4C7A-B1BE-BCAB6AE57610}" dt="2023-09-07T20:11:20.831" v="32721"/>
          <ac:spMkLst>
            <pc:docMk/>
            <pc:sldMk cId="2136892941" sldId="299"/>
            <ac:spMk id="289" creationId="{DDE15DDD-F50F-9629-1335-56D60B826FD3}"/>
          </ac:spMkLst>
        </pc:spChg>
        <pc:spChg chg="add del mod modVis">
          <ac:chgData name="Guinn, Sarah" userId="63e3ce5a-fcc6-474a-b3de-375720223e75" providerId="ADAL" clId="{D0183198-7876-4C7A-B1BE-BCAB6AE57610}" dt="2023-09-05T16:45:15.644" v="20345"/>
          <ac:spMkLst>
            <pc:docMk/>
            <pc:sldMk cId="2136892941" sldId="299"/>
            <ac:spMk id="291" creationId="{79AD5ECE-4635-A71E-F646-B29F34CC42AB}"/>
          </ac:spMkLst>
        </pc:spChg>
        <pc:spChg chg="add del mod modVis">
          <ac:chgData name="Guinn, Sarah" userId="63e3ce5a-fcc6-474a-b3de-375720223e75" providerId="ADAL" clId="{D0183198-7876-4C7A-B1BE-BCAB6AE57610}" dt="2023-09-05T16:45:17.250" v="20441"/>
          <ac:spMkLst>
            <pc:docMk/>
            <pc:sldMk cId="2136892941" sldId="299"/>
            <ac:spMk id="293" creationId="{61B0D5EB-3DF9-9C8E-9C48-AEC9B889A3A4}"/>
          </ac:spMkLst>
        </pc:spChg>
        <pc:spChg chg="add del mod modVis">
          <ac:chgData name="Guinn, Sarah" userId="63e3ce5a-fcc6-474a-b3de-375720223e75" providerId="ADAL" clId="{D0183198-7876-4C7A-B1BE-BCAB6AE57610}" dt="2023-09-05T16:45:20.167" v="20541"/>
          <ac:spMkLst>
            <pc:docMk/>
            <pc:sldMk cId="2136892941" sldId="299"/>
            <ac:spMk id="295" creationId="{D4FF8C9B-1FA6-3115-81AF-6F1943B525C5}"/>
          </ac:spMkLst>
        </pc:spChg>
        <pc:spChg chg="add del mod modVis">
          <ac:chgData name="Guinn, Sarah" userId="63e3ce5a-fcc6-474a-b3de-375720223e75" providerId="ADAL" clId="{D0183198-7876-4C7A-B1BE-BCAB6AE57610}" dt="2023-09-05T16:45:22.389" v="20695"/>
          <ac:spMkLst>
            <pc:docMk/>
            <pc:sldMk cId="2136892941" sldId="299"/>
            <ac:spMk id="297" creationId="{B0FE7938-E83E-1A3B-4491-DC676B92487D}"/>
          </ac:spMkLst>
        </pc:spChg>
        <pc:spChg chg="add del mod replST">
          <ac:chgData name="Guinn, Sarah" userId="63e3ce5a-fcc6-474a-b3de-375720223e75" providerId="ADAL" clId="{D0183198-7876-4C7A-B1BE-BCAB6AE57610}" dt="2023-09-07T20:11:20.830" v="32719"/>
          <ac:spMkLst>
            <pc:docMk/>
            <pc:sldMk cId="2136892941" sldId="299"/>
            <ac:spMk id="298" creationId="{58D5EF59-0FB3-47B4-D0E1-4D6EC034765A}"/>
          </ac:spMkLst>
        </pc:spChg>
        <pc:spChg chg="add del mod modVis">
          <ac:chgData name="Guinn, Sarah" userId="63e3ce5a-fcc6-474a-b3de-375720223e75" providerId="ADAL" clId="{D0183198-7876-4C7A-B1BE-BCAB6AE57610}" dt="2023-09-05T16:45:26.988" v="20810"/>
          <ac:spMkLst>
            <pc:docMk/>
            <pc:sldMk cId="2136892941" sldId="299"/>
            <ac:spMk id="300" creationId="{4380BF93-28BB-17EC-9FAC-4755E5835CD1}"/>
          </ac:spMkLst>
        </pc:spChg>
        <pc:spChg chg="add del mod modVis">
          <ac:chgData name="Guinn, Sarah" userId="63e3ce5a-fcc6-474a-b3de-375720223e75" providerId="ADAL" clId="{D0183198-7876-4C7A-B1BE-BCAB6AE57610}" dt="2023-09-05T16:45:28.917" v="20966"/>
          <ac:spMkLst>
            <pc:docMk/>
            <pc:sldMk cId="2136892941" sldId="299"/>
            <ac:spMk id="302" creationId="{47031AAA-20F9-D150-6D4F-5FC95A01A164}"/>
          </ac:spMkLst>
        </pc:spChg>
        <pc:spChg chg="add del mod replST">
          <ac:chgData name="Guinn, Sarah" userId="63e3ce5a-fcc6-474a-b3de-375720223e75" providerId="ADAL" clId="{D0183198-7876-4C7A-B1BE-BCAB6AE57610}" dt="2023-09-05T16:45:29.778" v="21015"/>
          <ac:spMkLst>
            <pc:docMk/>
            <pc:sldMk cId="2136892941" sldId="299"/>
            <ac:spMk id="303" creationId="{D61998F5-D953-FF8F-2E8A-918CDA593DAC}"/>
          </ac:spMkLst>
        </pc:spChg>
        <pc:spChg chg="add del mod modVis">
          <ac:chgData name="Guinn, Sarah" userId="63e3ce5a-fcc6-474a-b3de-375720223e75" providerId="ADAL" clId="{D0183198-7876-4C7A-B1BE-BCAB6AE57610}" dt="2023-09-05T16:45:29.865" v="21066"/>
          <ac:spMkLst>
            <pc:docMk/>
            <pc:sldMk cId="2136892941" sldId="299"/>
            <ac:spMk id="305" creationId="{01DB15FA-0B90-3DF0-C31D-78CF8D1194D8}"/>
          </ac:spMkLst>
        </pc:spChg>
        <pc:spChg chg="add del mod modVis">
          <ac:chgData name="Guinn, Sarah" userId="63e3ce5a-fcc6-474a-b3de-375720223e75" providerId="ADAL" clId="{D0183198-7876-4C7A-B1BE-BCAB6AE57610}" dt="2023-09-05T16:45:30.334" v="21222"/>
          <ac:spMkLst>
            <pc:docMk/>
            <pc:sldMk cId="2136892941" sldId="299"/>
            <ac:spMk id="307" creationId="{BC426CEB-3AAB-93BF-E700-8C9977F630D9}"/>
          </ac:spMkLst>
        </pc:spChg>
        <pc:spChg chg="add del mod replST">
          <ac:chgData name="Guinn, Sarah" userId="63e3ce5a-fcc6-474a-b3de-375720223e75" providerId="ADAL" clId="{D0183198-7876-4C7A-B1BE-BCAB6AE57610}" dt="2023-09-07T20:11:20.829" v="32717"/>
          <ac:spMkLst>
            <pc:docMk/>
            <pc:sldMk cId="2136892941" sldId="299"/>
            <ac:spMk id="308" creationId="{7EFB9257-4899-1B38-0BE8-5D1A23BF501A}"/>
          </ac:spMkLst>
        </pc:spChg>
        <pc:spChg chg="add del mod modVis">
          <ac:chgData name="Guinn, Sarah" userId="63e3ce5a-fcc6-474a-b3de-375720223e75" providerId="ADAL" clId="{D0183198-7876-4C7A-B1BE-BCAB6AE57610}" dt="2023-09-05T16:45:32.522" v="21339"/>
          <ac:spMkLst>
            <pc:docMk/>
            <pc:sldMk cId="2136892941" sldId="299"/>
            <ac:spMk id="310" creationId="{96ECAEFA-95FC-8D78-8C63-B63555F68AC0}"/>
          </ac:spMkLst>
        </pc:spChg>
        <pc:spChg chg="add del mod modVis">
          <ac:chgData name="Guinn, Sarah" userId="63e3ce5a-fcc6-474a-b3de-375720223e75" providerId="ADAL" clId="{D0183198-7876-4C7A-B1BE-BCAB6AE57610}" dt="2023-09-05T16:45:34.081" v="21439"/>
          <ac:spMkLst>
            <pc:docMk/>
            <pc:sldMk cId="2136892941" sldId="299"/>
            <ac:spMk id="312" creationId="{93DFCAD6-1CCF-35E9-9C73-4DDB1A6D6A8D}"/>
          </ac:spMkLst>
        </pc:spChg>
        <pc:spChg chg="add del mod modVis">
          <ac:chgData name="Guinn, Sarah" userId="63e3ce5a-fcc6-474a-b3de-375720223e75" providerId="ADAL" clId="{D0183198-7876-4C7A-B1BE-BCAB6AE57610}" dt="2023-09-05T16:45:39.176" v="21592"/>
          <ac:spMkLst>
            <pc:docMk/>
            <pc:sldMk cId="2136892941" sldId="299"/>
            <ac:spMk id="314" creationId="{54570FB7-2042-4A7A-7FC5-AC26A3759DA7}"/>
          </ac:spMkLst>
        </pc:spChg>
        <pc:spChg chg="add del mod replST">
          <ac:chgData name="Guinn, Sarah" userId="63e3ce5a-fcc6-474a-b3de-375720223e75" providerId="ADAL" clId="{D0183198-7876-4C7A-B1BE-BCAB6AE57610}" dt="2023-09-07T20:10:12.109" v="32511"/>
          <ac:spMkLst>
            <pc:docMk/>
            <pc:sldMk cId="2136892941" sldId="299"/>
            <ac:spMk id="315" creationId="{5A6A40FE-F8C4-0A76-55A7-61A8791A7AA0}"/>
          </ac:spMkLst>
        </pc:spChg>
        <pc:spChg chg="add del mod modVis">
          <ac:chgData name="Guinn, Sarah" userId="63e3ce5a-fcc6-474a-b3de-375720223e75" providerId="ADAL" clId="{D0183198-7876-4C7A-B1BE-BCAB6AE57610}" dt="2023-09-05T16:45:43.464" v="21706"/>
          <ac:spMkLst>
            <pc:docMk/>
            <pc:sldMk cId="2136892941" sldId="299"/>
            <ac:spMk id="317" creationId="{385BE76C-8A4B-DCA6-AC71-D0ECFFCE58A9}"/>
          </ac:spMkLst>
        </pc:spChg>
        <pc:spChg chg="add del mod modVis">
          <ac:chgData name="Guinn, Sarah" userId="63e3ce5a-fcc6-474a-b3de-375720223e75" providerId="ADAL" clId="{D0183198-7876-4C7A-B1BE-BCAB6AE57610}" dt="2023-09-05T16:45:45.492" v="21861"/>
          <ac:spMkLst>
            <pc:docMk/>
            <pc:sldMk cId="2136892941" sldId="299"/>
            <ac:spMk id="319" creationId="{337D1879-9FE8-53DF-B42F-FBA2ED52D23A}"/>
          </ac:spMkLst>
        </pc:spChg>
        <pc:spChg chg="add del mod replST">
          <ac:chgData name="Guinn, Sarah" userId="63e3ce5a-fcc6-474a-b3de-375720223e75" providerId="ADAL" clId="{D0183198-7876-4C7A-B1BE-BCAB6AE57610}" dt="2023-09-07T20:10:12.108" v="32509"/>
          <ac:spMkLst>
            <pc:docMk/>
            <pc:sldMk cId="2136892941" sldId="299"/>
            <ac:spMk id="320" creationId="{57051099-44EC-89D5-13E6-EE2A01D75A00}"/>
          </ac:spMkLst>
        </pc:spChg>
        <pc:spChg chg="add del mod modVis">
          <ac:chgData name="Guinn, Sarah" userId="63e3ce5a-fcc6-474a-b3de-375720223e75" providerId="ADAL" clId="{D0183198-7876-4C7A-B1BE-BCAB6AE57610}" dt="2023-09-05T16:45:49.108" v="21977"/>
          <ac:spMkLst>
            <pc:docMk/>
            <pc:sldMk cId="2136892941" sldId="299"/>
            <ac:spMk id="322" creationId="{7384243C-E157-6852-040B-07329070E904}"/>
          </ac:spMkLst>
        </pc:spChg>
        <pc:spChg chg="add del mod modVis">
          <ac:chgData name="Guinn, Sarah" userId="63e3ce5a-fcc6-474a-b3de-375720223e75" providerId="ADAL" clId="{D0183198-7876-4C7A-B1BE-BCAB6AE57610}" dt="2023-09-05T16:45:50.990" v="22134"/>
          <ac:spMkLst>
            <pc:docMk/>
            <pc:sldMk cId="2136892941" sldId="299"/>
            <ac:spMk id="324" creationId="{A34C3F3B-ACB7-1A19-E97F-67B307C6E1C3}"/>
          </ac:spMkLst>
        </pc:spChg>
        <pc:spChg chg="add del mod replST">
          <ac:chgData name="Guinn, Sarah" userId="63e3ce5a-fcc6-474a-b3de-375720223e75" providerId="ADAL" clId="{D0183198-7876-4C7A-B1BE-BCAB6AE57610}" dt="2023-09-07T20:10:12.107" v="32507"/>
          <ac:spMkLst>
            <pc:docMk/>
            <pc:sldMk cId="2136892941" sldId="299"/>
            <ac:spMk id="325" creationId="{1BB09639-D5BF-660C-47E3-85DBA006E5BB}"/>
          </ac:spMkLst>
        </pc:spChg>
        <pc:spChg chg="add del mod modVis">
          <ac:chgData name="Guinn, Sarah" userId="63e3ce5a-fcc6-474a-b3de-375720223e75" providerId="ADAL" clId="{D0183198-7876-4C7A-B1BE-BCAB6AE57610}" dt="2023-09-05T16:45:53.679" v="22252"/>
          <ac:spMkLst>
            <pc:docMk/>
            <pc:sldMk cId="2136892941" sldId="299"/>
            <ac:spMk id="327" creationId="{BDA26E90-D13B-9545-5446-00DD04697A1F}"/>
          </ac:spMkLst>
        </pc:spChg>
        <pc:spChg chg="add del mod modVis">
          <ac:chgData name="Guinn, Sarah" userId="63e3ce5a-fcc6-474a-b3de-375720223e75" providerId="ADAL" clId="{D0183198-7876-4C7A-B1BE-BCAB6AE57610}" dt="2023-09-05T16:45:55.026" v="22411"/>
          <ac:spMkLst>
            <pc:docMk/>
            <pc:sldMk cId="2136892941" sldId="299"/>
            <ac:spMk id="329" creationId="{6100A533-57EF-719F-F84C-0E55FAF76EDB}"/>
          </ac:spMkLst>
        </pc:spChg>
        <pc:spChg chg="add del mod replST">
          <ac:chgData name="Guinn, Sarah" userId="63e3ce5a-fcc6-474a-b3de-375720223e75" providerId="ADAL" clId="{D0183198-7876-4C7A-B1BE-BCAB6AE57610}" dt="2023-09-07T20:10:12.106" v="32505"/>
          <ac:spMkLst>
            <pc:docMk/>
            <pc:sldMk cId="2136892941" sldId="299"/>
            <ac:spMk id="330" creationId="{7EA91CF9-D13B-AC35-7A9D-D3DC802EF64B}"/>
          </ac:spMkLst>
        </pc:spChg>
        <pc:spChg chg="add del mod modVis">
          <ac:chgData name="Guinn, Sarah" userId="63e3ce5a-fcc6-474a-b3de-375720223e75" providerId="ADAL" clId="{D0183198-7876-4C7A-B1BE-BCAB6AE57610}" dt="2023-09-05T16:45:57.499" v="22531"/>
          <ac:spMkLst>
            <pc:docMk/>
            <pc:sldMk cId="2136892941" sldId="299"/>
            <ac:spMk id="332" creationId="{29F7D3AE-4D6E-5C2C-5069-C95CDC4AEACF}"/>
          </ac:spMkLst>
        </pc:spChg>
        <pc:spChg chg="add del mod modVis">
          <ac:chgData name="Guinn, Sarah" userId="63e3ce5a-fcc6-474a-b3de-375720223e75" providerId="ADAL" clId="{D0183198-7876-4C7A-B1BE-BCAB6AE57610}" dt="2023-09-05T16:45:59.151" v="22692"/>
          <ac:spMkLst>
            <pc:docMk/>
            <pc:sldMk cId="2136892941" sldId="299"/>
            <ac:spMk id="334" creationId="{6A6E3581-E258-E762-7CD8-671DA9DF04BD}"/>
          </ac:spMkLst>
        </pc:spChg>
        <pc:spChg chg="add del mod replST">
          <ac:chgData name="Guinn, Sarah" userId="63e3ce5a-fcc6-474a-b3de-375720223e75" providerId="ADAL" clId="{D0183198-7876-4C7A-B1BE-BCAB6AE57610}" dt="2023-09-07T20:10:12.104" v="32503"/>
          <ac:spMkLst>
            <pc:docMk/>
            <pc:sldMk cId="2136892941" sldId="299"/>
            <ac:spMk id="335" creationId="{919DA939-F6A3-2841-A063-A02629559CDE}"/>
          </ac:spMkLst>
        </pc:spChg>
        <pc:spChg chg="add del mod modVis">
          <ac:chgData name="Guinn, Sarah" userId="63e3ce5a-fcc6-474a-b3de-375720223e75" providerId="ADAL" clId="{D0183198-7876-4C7A-B1BE-BCAB6AE57610}" dt="2023-09-05T16:46:01.685" v="22814"/>
          <ac:spMkLst>
            <pc:docMk/>
            <pc:sldMk cId="2136892941" sldId="299"/>
            <ac:spMk id="337" creationId="{815D4689-DD73-A156-C82E-2026F86CD367}"/>
          </ac:spMkLst>
        </pc:spChg>
        <pc:spChg chg="add del mod modVis">
          <ac:chgData name="Guinn, Sarah" userId="63e3ce5a-fcc6-474a-b3de-375720223e75" providerId="ADAL" clId="{D0183198-7876-4C7A-B1BE-BCAB6AE57610}" dt="2023-09-05T16:46:03.485" v="22990"/>
          <ac:spMkLst>
            <pc:docMk/>
            <pc:sldMk cId="2136892941" sldId="299"/>
            <ac:spMk id="339" creationId="{C23F39D5-1F6C-CF2F-5C0F-B74DCEA4A3C0}"/>
          </ac:spMkLst>
        </pc:spChg>
        <pc:spChg chg="add del mod replST">
          <ac:chgData name="Guinn, Sarah" userId="63e3ce5a-fcc6-474a-b3de-375720223e75" providerId="ADAL" clId="{D0183198-7876-4C7A-B1BE-BCAB6AE57610}" dt="2023-09-05T16:46:06.232" v="23239"/>
          <ac:spMkLst>
            <pc:docMk/>
            <pc:sldMk cId="2136892941" sldId="299"/>
            <ac:spMk id="341" creationId="{D16AEF7F-467C-3894-2AE1-4CD460792F07}"/>
          </ac:spMkLst>
        </pc:spChg>
        <pc:spChg chg="add del mod modVis">
          <ac:chgData name="Guinn, Sarah" userId="63e3ce5a-fcc6-474a-b3de-375720223e75" providerId="ADAL" clId="{D0183198-7876-4C7A-B1BE-BCAB6AE57610}" dt="2023-09-05T16:46:04.376" v="23092"/>
          <ac:spMkLst>
            <pc:docMk/>
            <pc:sldMk cId="2136892941" sldId="299"/>
            <ac:spMk id="343" creationId="{CEF8D432-12F4-8DBE-5CB1-42D2907A1C53}"/>
          </ac:spMkLst>
        </pc:spChg>
        <pc:spChg chg="add del mod modVis">
          <ac:chgData name="Guinn, Sarah" userId="63e3ce5a-fcc6-474a-b3de-375720223e75" providerId="ADAL" clId="{D0183198-7876-4C7A-B1BE-BCAB6AE57610}" dt="2023-09-05T16:46:05.583" v="23194"/>
          <ac:spMkLst>
            <pc:docMk/>
            <pc:sldMk cId="2136892941" sldId="299"/>
            <ac:spMk id="345" creationId="{C016B80A-8386-46B4-5E04-9D9E9F979822}"/>
          </ac:spMkLst>
        </pc:spChg>
        <pc:spChg chg="add del mod modVis">
          <ac:chgData name="Guinn, Sarah" userId="63e3ce5a-fcc6-474a-b3de-375720223e75" providerId="ADAL" clId="{D0183198-7876-4C7A-B1BE-BCAB6AE57610}" dt="2023-09-05T16:46:06.334" v="23296"/>
          <ac:spMkLst>
            <pc:docMk/>
            <pc:sldMk cId="2136892941" sldId="299"/>
            <ac:spMk id="347" creationId="{D8EFB763-03FF-7629-0AC3-C3DA06FEAC4E}"/>
          </ac:spMkLst>
        </pc:spChg>
        <pc:spChg chg="add del mod modVis">
          <ac:chgData name="Guinn, Sarah" userId="63e3ce5a-fcc6-474a-b3de-375720223e75" providerId="ADAL" clId="{D0183198-7876-4C7A-B1BE-BCAB6AE57610}" dt="2023-09-05T16:46:07.496" v="23454"/>
          <ac:spMkLst>
            <pc:docMk/>
            <pc:sldMk cId="2136892941" sldId="299"/>
            <ac:spMk id="349" creationId="{B7979574-2D3D-2B40-D646-F8BF71DFACA5}"/>
          </ac:spMkLst>
        </pc:spChg>
        <pc:spChg chg="add del mod replST">
          <ac:chgData name="Guinn, Sarah" userId="63e3ce5a-fcc6-474a-b3de-375720223e75" providerId="ADAL" clId="{D0183198-7876-4C7A-B1BE-BCAB6AE57610}" dt="2023-09-07T20:10:14.088" v="32528"/>
          <ac:spMkLst>
            <pc:docMk/>
            <pc:sldMk cId="2136892941" sldId="299"/>
            <ac:spMk id="350" creationId="{A6720BF2-ABC9-E9BF-C3DE-7E6C38226978}"/>
          </ac:spMkLst>
        </pc:spChg>
        <pc:spChg chg="add del mod modVis">
          <ac:chgData name="Guinn, Sarah" userId="63e3ce5a-fcc6-474a-b3de-375720223e75" providerId="ADAL" clId="{D0183198-7876-4C7A-B1BE-BCAB6AE57610}" dt="2023-09-05T16:46:09.602" v="23573"/>
          <ac:spMkLst>
            <pc:docMk/>
            <pc:sldMk cId="2136892941" sldId="299"/>
            <ac:spMk id="352" creationId="{088C974D-A51D-4E3F-A967-80E13E7483EF}"/>
          </ac:spMkLst>
        </pc:spChg>
        <pc:spChg chg="add del mod modVis">
          <ac:chgData name="Guinn, Sarah" userId="63e3ce5a-fcc6-474a-b3de-375720223e75" providerId="ADAL" clId="{D0183198-7876-4C7A-B1BE-BCAB6AE57610}" dt="2023-09-05T16:46:11.384" v="23733"/>
          <ac:spMkLst>
            <pc:docMk/>
            <pc:sldMk cId="2136892941" sldId="299"/>
            <ac:spMk id="354" creationId="{5C92EB68-DDAC-CFDA-0143-AD399AF90AA2}"/>
          </ac:spMkLst>
        </pc:spChg>
        <pc:spChg chg="add del mod replST">
          <ac:chgData name="Guinn, Sarah" userId="63e3ce5a-fcc6-474a-b3de-375720223e75" providerId="ADAL" clId="{D0183198-7876-4C7A-B1BE-BCAB6AE57610}" dt="2023-09-07T20:10:14.087" v="32526"/>
          <ac:spMkLst>
            <pc:docMk/>
            <pc:sldMk cId="2136892941" sldId="299"/>
            <ac:spMk id="355" creationId="{A19E2E55-0EAC-D3BB-4CC8-4446E7357088}"/>
          </ac:spMkLst>
        </pc:spChg>
        <pc:spChg chg="add del mod modVis">
          <ac:chgData name="Guinn, Sarah" userId="63e3ce5a-fcc6-474a-b3de-375720223e75" providerId="ADAL" clId="{D0183198-7876-4C7A-B1BE-BCAB6AE57610}" dt="2023-09-05T16:46:13.545" v="23854"/>
          <ac:spMkLst>
            <pc:docMk/>
            <pc:sldMk cId="2136892941" sldId="299"/>
            <ac:spMk id="357" creationId="{D3AFE774-E94B-B5BD-F574-F3EF85C3C5EA}"/>
          </ac:spMkLst>
        </pc:spChg>
        <pc:spChg chg="add del mod modVis">
          <ac:chgData name="Guinn, Sarah" userId="63e3ce5a-fcc6-474a-b3de-375720223e75" providerId="ADAL" clId="{D0183198-7876-4C7A-B1BE-BCAB6AE57610}" dt="2023-09-05T16:46:15.369" v="24016"/>
          <ac:spMkLst>
            <pc:docMk/>
            <pc:sldMk cId="2136892941" sldId="299"/>
            <ac:spMk id="359" creationId="{396F8899-D726-F193-FA53-7153C3EEF209}"/>
          </ac:spMkLst>
        </pc:spChg>
        <pc:spChg chg="add del mod replST">
          <ac:chgData name="Guinn, Sarah" userId="63e3ce5a-fcc6-474a-b3de-375720223e75" providerId="ADAL" clId="{D0183198-7876-4C7A-B1BE-BCAB6AE57610}" dt="2023-09-05T16:46:16.266" v="24063"/>
          <ac:spMkLst>
            <pc:docMk/>
            <pc:sldMk cId="2136892941" sldId="299"/>
            <ac:spMk id="360" creationId="{55DD39D1-25FE-B395-0ABA-EC4B8C718183}"/>
          </ac:spMkLst>
        </pc:spChg>
        <pc:spChg chg="add del mod modVis">
          <ac:chgData name="Guinn, Sarah" userId="63e3ce5a-fcc6-474a-b3de-375720223e75" providerId="ADAL" clId="{D0183198-7876-4C7A-B1BE-BCAB6AE57610}" dt="2023-09-05T16:46:16.362" v="24122"/>
          <ac:spMkLst>
            <pc:docMk/>
            <pc:sldMk cId="2136892941" sldId="299"/>
            <ac:spMk id="362" creationId="{A078AF17-784E-42A1-2D85-50F7AF30543E}"/>
          </ac:spMkLst>
        </pc:spChg>
        <pc:spChg chg="add del mod modVis">
          <ac:chgData name="Guinn, Sarah" userId="63e3ce5a-fcc6-474a-b3de-375720223e75" providerId="ADAL" clId="{D0183198-7876-4C7A-B1BE-BCAB6AE57610}" dt="2023-09-05T16:46:17.651" v="24284"/>
          <ac:spMkLst>
            <pc:docMk/>
            <pc:sldMk cId="2136892941" sldId="299"/>
            <ac:spMk id="364" creationId="{520EF8C2-2E33-3A25-4061-6FD2F86D16FC}"/>
          </ac:spMkLst>
        </pc:spChg>
        <pc:spChg chg="add del mod replST">
          <ac:chgData name="Guinn, Sarah" userId="63e3ce5a-fcc6-474a-b3de-375720223e75" providerId="ADAL" clId="{D0183198-7876-4C7A-B1BE-BCAB6AE57610}" dt="2023-09-07T20:10:14.086" v="32524"/>
          <ac:spMkLst>
            <pc:docMk/>
            <pc:sldMk cId="2136892941" sldId="299"/>
            <ac:spMk id="365" creationId="{7ADD2FDF-6AC5-0BAF-F443-8F0B516DD9CD}"/>
          </ac:spMkLst>
        </pc:spChg>
        <pc:spChg chg="add del mod modVis">
          <ac:chgData name="Guinn, Sarah" userId="63e3ce5a-fcc6-474a-b3de-375720223e75" providerId="ADAL" clId="{D0183198-7876-4C7A-B1BE-BCAB6AE57610}" dt="2023-09-05T16:46:18.461" v="24393"/>
          <ac:spMkLst>
            <pc:docMk/>
            <pc:sldMk cId="2136892941" sldId="299"/>
            <ac:spMk id="367" creationId="{8D0E9C38-ABB8-9BD5-4400-4D0E88C0A9AE}"/>
          </ac:spMkLst>
        </pc:spChg>
        <pc:spChg chg="add del mod modVis">
          <ac:chgData name="Guinn, Sarah" userId="63e3ce5a-fcc6-474a-b3de-375720223e75" providerId="ADAL" clId="{D0183198-7876-4C7A-B1BE-BCAB6AE57610}" dt="2023-09-05T16:46:24.385" v="24499"/>
          <ac:spMkLst>
            <pc:docMk/>
            <pc:sldMk cId="2136892941" sldId="299"/>
            <ac:spMk id="369" creationId="{DB23D3A0-3CA8-A924-EF2A-BEB4B3956D5A}"/>
          </ac:spMkLst>
        </pc:spChg>
        <pc:spChg chg="add del mod modVis">
          <ac:chgData name="Guinn, Sarah" userId="63e3ce5a-fcc6-474a-b3de-375720223e75" providerId="ADAL" clId="{D0183198-7876-4C7A-B1BE-BCAB6AE57610}" dt="2023-09-05T16:46:26.555" v="24609"/>
          <ac:spMkLst>
            <pc:docMk/>
            <pc:sldMk cId="2136892941" sldId="299"/>
            <ac:spMk id="371" creationId="{6FBCE750-13FE-1A31-EFB5-14369DFE13E6}"/>
          </ac:spMkLst>
        </pc:spChg>
        <pc:spChg chg="add del mod modVis">
          <ac:chgData name="Guinn, Sarah" userId="63e3ce5a-fcc6-474a-b3de-375720223e75" providerId="ADAL" clId="{D0183198-7876-4C7A-B1BE-BCAB6AE57610}" dt="2023-09-05T16:46:28.360" v="24773"/>
          <ac:spMkLst>
            <pc:docMk/>
            <pc:sldMk cId="2136892941" sldId="299"/>
            <ac:spMk id="373" creationId="{D62FF6AA-DA21-3801-2189-4C5E8CCC7D60}"/>
          </ac:spMkLst>
        </pc:spChg>
        <pc:spChg chg="add del mod replST">
          <ac:chgData name="Guinn, Sarah" userId="63e3ce5a-fcc6-474a-b3de-375720223e75" providerId="ADAL" clId="{D0183198-7876-4C7A-B1BE-BCAB6AE57610}" dt="2023-09-05T16:46:29.256" v="24821"/>
          <ac:spMkLst>
            <pc:docMk/>
            <pc:sldMk cId="2136892941" sldId="299"/>
            <ac:spMk id="374" creationId="{8D3D555A-1ACC-28D8-2DDB-6D0CFF4EEE29}"/>
          </ac:spMkLst>
        </pc:spChg>
        <pc:spChg chg="add del mod modVis">
          <ac:chgData name="Guinn, Sarah" userId="63e3ce5a-fcc6-474a-b3de-375720223e75" providerId="ADAL" clId="{D0183198-7876-4C7A-B1BE-BCAB6AE57610}" dt="2023-09-05T16:46:29.376" v="24881"/>
          <ac:spMkLst>
            <pc:docMk/>
            <pc:sldMk cId="2136892941" sldId="299"/>
            <ac:spMk id="376" creationId="{D0FFEAF3-0C68-67F7-A14D-9B113F5C0B35}"/>
          </ac:spMkLst>
        </pc:spChg>
        <pc:spChg chg="add del mod modVis">
          <ac:chgData name="Guinn, Sarah" userId="63e3ce5a-fcc6-474a-b3de-375720223e75" providerId="ADAL" clId="{D0183198-7876-4C7A-B1BE-BCAB6AE57610}" dt="2023-09-05T16:46:30.770" v="25045"/>
          <ac:spMkLst>
            <pc:docMk/>
            <pc:sldMk cId="2136892941" sldId="299"/>
            <ac:spMk id="378" creationId="{DDA3AC23-341B-BDD8-87C9-24BFD6BFCD8E}"/>
          </ac:spMkLst>
        </pc:spChg>
        <pc:spChg chg="add del mod replST">
          <ac:chgData name="Guinn, Sarah" userId="63e3ce5a-fcc6-474a-b3de-375720223e75" providerId="ADAL" clId="{D0183198-7876-4C7A-B1BE-BCAB6AE57610}" dt="2023-09-07T20:10:14.085" v="32522"/>
          <ac:spMkLst>
            <pc:docMk/>
            <pc:sldMk cId="2136892941" sldId="299"/>
            <ac:spMk id="379" creationId="{B1850C80-8D04-37E9-6D57-EA9C21A09F6A}"/>
          </ac:spMkLst>
        </pc:spChg>
        <pc:spChg chg="add del mod modVis">
          <ac:chgData name="Guinn, Sarah" userId="63e3ce5a-fcc6-474a-b3de-375720223e75" providerId="ADAL" clId="{D0183198-7876-4C7A-B1BE-BCAB6AE57610}" dt="2023-09-05T16:46:31.277" v="25153"/>
          <ac:spMkLst>
            <pc:docMk/>
            <pc:sldMk cId="2136892941" sldId="299"/>
            <ac:spMk id="381" creationId="{E61E7EC7-46F4-0FDC-0723-6E51FE6B1074}"/>
          </ac:spMkLst>
        </pc:spChg>
        <pc:spChg chg="add del mod modVis">
          <ac:chgData name="Guinn, Sarah" userId="63e3ce5a-fcc6-474a-b3de-375720223e75" providerId="ADAL" clId="{D0183198-7876-4C7A-B1BE-BCAB6AE57610}" dt="2023-09-05T16:46:34.283" v="25278"/>
          <ac:spMkLst>
            <pc:docMk/>
            <pc:sldMk cId="2136892941" sldId="299"/>
            <ac:spMk id="383" creationId="{722E2AE7-6005-E8B4-1B1E-2BCF027BC060}"/>
          </ac:spMkLst>
        </pc:spChg>
        <pc:spChg chg="add del mod modVis">
          <ac:chgData name="Guinn, Sarah" userId="63e3ce5a-fcc6-474a-b3de-375720223e75" providerId="ADAL" clId="{D0183198-7876-4C7A-B1BE-BCAB6AE57610}" dt="2023-09-05T16:46:35.643" v="25444"/>
          <ac:spMkLst>
            <pc:docMk/>
            <pc:sldMk cId="2136892941" sldId="299"/>
            <ac:spMk id="385" creationId="{1EF4D19B-7CCE-0C30-E937-18FF9040BC68}"/>
          </ac:spMkLst>
        </pc:spChg>
        <pc:spChg chg="add del mod replST">
          <ac:chgData name="Guinn, Sarah" userId="63e3ce5a-fcc6-474a-b3de-375720223e75" providerId="ADAL" clId="{D0183198-7876-4C7A-B1BE-BCAB6AE57610}" dt="2023-09-07T20:10:14.083" v="32520"/>
          <ac:spMkLst>
            <pc:docMk/>
            <pc:sldMk cId="2136892941" sldId="299"/>
            <ac:spMk id="386" creationId="{B22B3C3A-397B-09B7-684D-35A4334BB5A1}"/>
          </ac:spMkLst>
        </pc:spChg>
        <pc:spChg chg="add del mod modVis">
          <ac:chgData name="Guinn, Sarah" userId="63e3ce5a-fcc6-474a-b3de-375720223e75" providerId="ADAL" clId="{D0183198-7876-4C7A-B1BE-BCAB6AE57610}" dt="2023-09-05T16:46:36.908" v="25557"/>
          <ac:spMkLst>
            <pc:docMk/>
            <pc:sldMk cId="2136892941" sldId="299"/>
            <ac:spMk id="388" creationId="{0A3DA45F-BACB-3E64-BBA5-65C7207D6905}"/>
          </ac:spMkLst>
        </pc:spChg>
        <pc:spChg chg="add del mod modVis">
          <ac:chgData name="Guinn, Sarah" userId="63e3ce5a-fcc6-474a-b3de-375720223e75" providerId="ADAL" clId="{D0183198-7876-4C7A-B1BE-BCAB6AE57610}" dt="2023-09-05T16:46:38.839" v="25672"/>
          <ac:spMkLst>
            <pc:docMk/>
            <pc:sldMk cId="2136892941" sldId="299"/>
            <ac:spMk id="390" creationId="{2EA20398-4135-256E-7B1C-29A776482677}"/>
          </ac:spMkLst>
        </pc:spChg>
        <pc:spChg chg="add del mod modVis">
          <ac:chgData name="Guinn, Sarah" userId="63e3ce5a-fcc6-474a-b3de-375720223e75" providerId="ADAL" clId="{D0183198-7876-4C7A-B1BE-BCAB6AE57610}" dt="2023-09-05T16:46:41.775" v="26200"/>
          <ac:spMkLst>
            <pc:docMk/>
            <pc:sldMk cId="2136892941" sldId="299"/>
            <ac:spMk id="392" creationId="{0C57E7E7-7DC7-28E3-8E07-6825495DB6C5}"/>
          </ac:spMkLst>
        </pc:spChg>
        <pc:spChg chg="add del mod replST">
          <ac:chgData name="Guinn, Sarah" userId="63e3ce5a-fcc6-474a-b3de-375720223e75" providerId="ADAL" clId="{D0183198-7876-4C7A-B1BE-BCAB6AE57610}" dt="2023-09-05T16:46:47.126" v="26386"/>
          <ac:spMkLst>
            <pc:docMk/>
            <pc:sldMk cId="2136892941" sldId="299"/>
            <ac:spMk id="393" creationId="{A4FAB1E8-017C-EC23-1359-F9CFB1D18EEE}"/>
          </ac:spMkLst>
        </pc:spChg>
        <pc:spChg chg="add del mod replST">
          <ac:chgData name="Guinn, Sarah" userId="63e3ce5a-fcc6-474a-b3de-375720223e75" providerId="ADAL" clId="{D0183198-7876-4C7A-B1BE-BCAB6AE57610}" dt="2023-09-05T16:46:47.128" v="26387"/>
          <ac:spMkLst>
            <pc:docMk/>
            <pc:sldMk cId="2136892941" sldId="299"/>
            <ac:spMk id="394" creationId="{341D4E0A-0871-1502-CC54-73AAF46E34F9}"/>
          </ac:spMkLst>
        </pc:spChg>
        <pc:spChg chg="add del mod replST">
          <ac:chgData name="Guinn, Sarah" userId="63e3ce5a-fcc6-474a-b3de-375720223e75" providerId="ADAL" clId="{D0183198-7876-4C7A-B1BE-BCAB6AE57610}" dt="2023-09-05T16:46:47.129" v="26388"/>
          <ac:spMkLst>
            <pc:docMk/>
            <pc:sldMk cId="2136892941" sldId="299"/>
            <ac:spMk id="395" creationId="{17634BB4-F193-9188-1F1D-4EA4C4A692F2}"/>
          </ac:spMkLst>
        </pc:spChg>
        <pc:spChg chg="add del mod replST">
          <ac:chgData name="Guinn, Sarah" userId="63e3ce5a-fcc6-474a-b3de-375720223e75" providerId="ADAL" clId="{D0183198-7876-4C7A-B1BE-BCAB6AE57610}" dt="2023-09-05T16:46:47.131" v="26389"/>
          <ac:spMkLst>
            <pc:docMk/>
            <pc:sldMk cId="2136892941" sldId="299"/>
            <ac:spMk id="396" creationId="{852EA05B-9444-9059-A502-3DC674BBD6CE}"/>
          </ac:spMkLst>
        </pc:spChg>
        <pc:spChg chg="add del mod replST">
          <ac:chgData name="Guinn, Sarah" userId="63e3ce5a-fcc6-474a-b3de-375720223e75" providerId="ADAL" clId="{D0183198-7876-4C7A-B1BE-BCAB6AE57610}" dt="2023-09-05T16:46:47.133" v="26390"/>
          <ac:spMkLst>
            <pc:docMk/>
            <pc:sldMk cId="2136892941" sldId="299"/>
            <ac:spMk id="397" creationId="{CCB63AFE-CF12-DC73-4C2E-7770A677BF3D}"/>
          </ac:spMkLst>
        </pc:spChg>
        <pc:spChg chg="add del mod replST">
          <ac:chgData name="Guinn, Sarah" userId="63e3ce5a-fcc6-474a-b3de-375720223e75" providerId="ADAL" clId="{D0183198-7876-4C7A-B1BE-BCAB6AE57610}" dt="2023-09-05T16:46:47.136" v="26391"/>
          <ac:spMkLst>
            <pc:docMk/>
            <pc:sldMk cId="2136892941" sldId="299"/>
            <ac:spMk id="398" creationId="{402BB98B-06EB-6CF5-055F-BD784C1BE268}"/>
          </ac:spMkLst>
        </pc:spChg>
        <pc:spChg chg="add del mod replST">
          <ac:chgData name="Guinn, Sarah" userId="63e3ce5a-fcc6-474a-b3de-375720223e75" providerId="ADAL" clId="{D0183198-7876-4C7A-B1BE-BCAB6AE57610}" dt="2023-09-05T16:46:47.139" v="26392"/>
          <ac:spMkLst>
            <pc:docMk/>
            <pc:sldMk cId="2136892941" sldId="299"/>
            <ac:spMk id="399" creationId="{85344514-2FF1-1814-F934-6E876FD68448}"/>
          </ac:spMkLst>
        </pc:spChg>
        <pc:spChg chg="add del mod replST">
          <ac:chgData name="Guinn, Sarah" userId="63e3ce5a-fcc6-474a-b3de-375720223e75" providerId="ADAL" clId="{D0183198-7876-4C7A-B1BE-BCAB6AE57610}" dt="2023-09-05T16:46:47.142" v="26393"/>
          <ac:spMkLst>
            <pc:docMk/>
            <pc:sldMk cId="2136892941" sldId="299"/>
            <ac:spMk id="400" creationId="{CF96F3D6-E593-D412-22BD-8BD8C7DBECBE}"/>
          </ac:spMkLst>
        </pc:spChg>
        <pc:spChg chg="add del mod replST">
          <ac:chgData name="Guinn, Sarah" userId="63e3ce5a-fcc6-474a-b3de-375720223e75" providerId="ADAL" clId="{D0183198-7876-4C7A-B1BE-BCAB6AE57610}" dt="2023-09-05T16:46:47.145" v="26394"/>
          <ac:spMkLst>
            <pc:docMk/>
            <pc:sldMk cId="2136892941" sldId="299"/>
            <ac:spMk id="401" creationId="{3BEF2469-9D50-3D8B-A879-59B3C4CEC7C9}"/>
          </ac:spMkLst>
        </pc:spChg>
        <pc:spChg chg="add del mod modVis">
          <ac:chgData name="Guinn, Sarah" userId="63e3ce5a-fcc6-474a-b3de-375720223e75" providerId="ADAL" clId="{D0183198-7876-4C7A-B1BE-BCAB6AE57610}" dt="2023-09-05T16:46:44.804" v="26328"/>
          <ac:spMkLst>
            <pc:docMk/>
            <pc:sldMk cId="2136892941" sldId="299"/>
            <ac:spMk id="403" creationId="{77F4F77C-04D1-372E-7371-D2CD24A5435C}"/>
          </ac:spMkLst>
        </pc:spChg>
        <pc:spChg chg="add del mod modVis">
          <ac:chgData name="Guinn, Sarah" userId="63e3ce5a-fcc6-474a-b3de-375720223e75" providerId="ADAL" clId="{D0183198-7876-4C7A-B1BE-BCAB6AE57610}" dt="2023-09-05T16:46:47.385" v="26456"/>
          <ac:spMkLst>
            <pc:docMk/>
            <pc:sldMk cId="2136892941" sldId="299"/>
            <ac:spMk id="405" creationId="{C4B5FA72-B968-3ABF-0AC8-439D0A181299}"/>
          </ac:spMkLst>
        </pc:spChg>
        <pc:spChg chg="add del mod modVis">
          <ac:chgData name="Guinn, Sarah" userId="63e3ce5a-fcc6-474a-b3de-375720223e75" providerId="ADAL" clId="{D0183198-7876-4C7A-B1BE-BCAB6AE57610}" dt="2023-09-05T16:46:54.266" v="26566"/>
          <ac:spMkLst>
            <pc:docMk/>
            <pc:sldMk cId="2136892941" sldId="299"/>
            <ac:spMk id="407" creationId="{DAD59258-9468-62A7-2CEB-62259FA4BEA8}"/>
          </ac:spMkLst>
        </pc:spChg>
        <pc:spChg chg="add del mod modVis">
          <ac:chgData name="Guinn, Sarah" userId="63e3ce5a-fcc6-474a-b3de-375720223e75" providerId="ADAL" clId="{D0183198-7876-4C7A-B1BE-BCAB6AE57610}" dt="2023-09-05T16:46:58.475" v="26676"/>
          <ac:spMkLst>
            <pc:docMk/>
            <pc:sldMk cId="2136892941" sldId="299"/>
            <ac:spMk id="409" creationId="{1BDF0DE6-9EEF-FC8D-8A18-8717EDEDC707}"/>
          </ac:spMkLst>
        </pc:spChg>
        <pc:spChg chg="add del mod modVis">
          <ac:chgData name="Guinn, Sarah" userId="63e3ce5a-fcc6-474a-b3de-375720223e75" providerId="ADAL" clId="{D0183198-7876-4C7A-B1BE-BCAB6AE57610}" dt="2023-09-05T16:47:04.400" v="26841"/>
          <ac:spMkLst>
            <pc:docMk/>
            <pc:sldMk cId="2136892941" sldId="299"/>
            <ac:spMk id="411" creationId="{1C898EB2-0773-BAA3-0030-9F604EDA4009}"/>
          </ac:spMkLst>
        </pc:spChg>
        <pc:spChg chg="add del mod replST">
          <ac:chgData name="Guinn, Sarah" userId="63e3ce5a-fcc6-474a-b3de-375720223e75" providerId="ADAL" clId="{D0183198-7876-4C7A-B1BE-BCAB6AE57610}" dt="2023-09-07T20:11:20.833" v="32727"/>
          <ac:spMkLst>
            <pc:docMk/>
            <pc:sldMk cId="2136892941" sldId="299"/>
            <ac:spMk id="412" creationId="{D229B369-00B5-9F7B-CFCC-AB4C356BCC6D}"/>
          </ac:spMkLst>
        </pc:spChg>
        <pc:spChg chg="add del mod modVis">
          <ac:chgData name="Guinn, Sarah" userId="63e3ce5a-fcc6-474a-b3de-375720223e75" providerId="ADAL" clId="{D0183198-7876-4C7A-B1BE-BCAB6AE57610}" dt="2023-09-05T16:47:08.621" v="26959"/>
          <ac:spMkLst>
            <pc:docMk/>
            <pc:sldMk cId="2136892941" sldId="299"/>
            <ac:spMk id="414" creationId="{0A47E4BA-18DC-DCD7-15F5-AFFA20B13B66}"/>
          </ac:spMkLst>
        </pc:spChg>
        <pc:spChg chg="add del mod modVis">
          <ac:chgData name="Guinn, Sarah" userId="63e3ce5a-fcc6-474a-b3de-375720223e75" providerId="ADAL" clId="{D0183198-7876-4C7A-B1BE-BCAB6AE57610}" dt="2023-09-05T16:47:23.926" v="27090"/>
          <ac:spMkLst>
            <pc:docMk/>
            <pc:sldMk cId="2136892941" sldId="299"/>
            <ac:spMk id="416" creationId="{6362A80F-1C9F-0254-284D-DD9B54E39196}"/>
          </ac:spMkLst>
        </pc:spChg>
        <pc:spChg chg="add del mod modVis">
          <ac:chgData name="Guinn, Sarah" userId="63e3ce5a-fcc6-474a-b3de-375720223e75" providerId="ADAL" clId="{D0183198-7876-4C7A-B1BE-BCAB6AE57610}" dt="2023-09-05T16:47:27.014" v="27217"/>
          <ac:spMkLst>
            <pc:docMk/>
            <pc:sldMk cId="2136892941" sldId="299"/>
            <ac:spMk id="418" creationId="{B3D9D8B2-9552-5E20-4ED5-668E182D0F85}"/>
          </ac:spMkLst>
        </pc:spChg>
        <pc:spChg chg="add del mod modVis">
          <ac:chgData name="Guinn, Sarah" userId="63e3ce5a-fcc6-474a-b3de-375720223e75" providerId="ADAL" clId="{D0183198-7876-4C7A-B1BE-BCAB6AE57610}" dt="2023-09-05T16:47:27.712" v="27330"/>
          <ac:spMkLst>
            <pc:docMk/>
            <pc:sldMk cId="2136892941" sldId="299"/>
            <ac:spMk id="420" creationId="{D501AA77-43E0-AF60-9D49-E324D62F0459}"/>
          </ac:spMkLst>
        </pc:spChg>
        <pc:spChg chg="add del mod modVis">
          <ac:chgData name="Guinn, Sarah" userId="63e3ce5a-fcc6-474a-b3de-375720223e75" providerId="ADAL" clId="{D0183198-7876-4C7A-B1BE-BCAB6AE57610}" dt="2023-09-05T16:47:28.486" v="27446"/>
          <ac:spMkLst>
            <pc:docMk/>
            <pc:sldMk cId="2136892941" sldId="299"/>
            <ac:spMk id="422" creationId="{7E056249-50B5-252C-1939-84A16CB10A73}"/>
          </ac:spMkLst>
        </pc:spChg>
        <pc:spChg chg="add del mod modVis">
          <ac:chgData name="Guinn, Sarah" userId="63e3ce5a-fcc6-474a-b3de-375720223e75" providerId="ADAL" clId="{D0183198-7876-4C7A-B1BE-BCAB6AE57610}" dt="2023-09-05T16:47:48.347" v="27564"/>
          <ac:spMkLst>
            <pc:docMk/>
            <pc:sldMk cId="2136892941" sldId="299"/>
            <ac:spMk id="424" creationId="{50629BB1-D7E7-E859-2906-A1EC03159C69}"/>
          </ac:spMkLst>
        </pc:spChg>
        <pc:spChg chg="add del mod modVis">
          <ac:chgData name="Guinn, Sarah" userId="63e3ce5a-fcc6-474a-b3de-375720223e75" providerId="ADAL" clId="{D0183198-7876-4C7A-B1BE-BCAB6AE57610}" dt="2023-09-05T16:47:51.745" v="27682"/>
          <ac:spMkLst>
            <pc:docMk/>
            <pc:sldMk cId="2136892941" sldId="299"/>
            <ac:spMk id="426" creationId="{8331379B-2336-6512-F491-258CC4591BE9}"/>
          </ac:spMkLst>
        </pc:spChg>
        <pc:spChg chg="add del mod modVis">
          <ac:chgData name="Guinn, Sarah" userId="63e3ce5a-fcc6-474a-b3de-375720223e75" providerId="ADAL" clId="{D0183198-7876-4C7A-B1BE-BCAB6AE57610}" dt="2023-09-05T16:48:04.560" v="27892"/>
          <ac:spMkLst>
            <pc:docMk/>
            <pc:sldMk cId="2136892941" sldId="299"/>
            <ac:spMk id="428" creationId="{FD8FA819-7E0E-4E39-13F8-C191522F9338}"/>
          </ac:spMkLst>
        </pc:spChg>
        <pc:spChg chg="add del mod modVis">
          <ac:chgData name="Guinn, Sarah" userId="63e3ce5a-fcc6-474a-b3de-375720223e75" providerId="ADAL" clId="{D0183198-7876-4C7A-B1BE-BCAB6AE57610}" dt="2023-09-05T16:48:12.280" v="28075"/>
          <ac:spMkLst>
            <pc:docMk/>
            <pc:sldMk cId="2136892941" sldId="299"/>
            <ac:spMk id="430" creationId="{54745174-6EC6-F753-EBE2-7F5C60C266DF}"/>
          </ac:spMkLst>
        </pc:spChg>
        <pc:spChg chg="add del mod modVis">
          <ac:chgData name="Guinn, Sarah" userId="63e3ce5a-fcc6-474a-b3de-375720223e75" providerId="ADAL" clId="{D0183198-7876-4C7A-B1BE-BCAB6AE57610}" dt="2023-09-05T16:48:16.361" v="28190"/>
          <ac:spMkLst>
            <pc:docMk/>
            <pc:sldMk cId="2136892941" sldId="299"/>
            <ac:spMk id="432" creationId="{76B475E1-6C9C-CF59-2064-3C0F921CFD11}"/>
          </ac:spMkLst>
        </pc:spChg>
        <pc:spChg chg="add del mod modVis">
          <ac:chgData name="Guinn, Sarah" userId="63e3ce5a-fcc6-474a-b3de-375720223e75" providerId="ADAL" clId="{D0183198-7876-4C7A-B1BE-BCAB6AE57610}" dt="2023-09-05T16:49:15.719" v="28305"/>
          <ac:spMkLst>
            <pc:docMk/>
            <pc:sldMk cId="2136892941" sldId="299"/>
            <ac:spMk id="434" creationId="{64DF3B6B-F791-AEAB-31F4-32222E34E7B3}"/>
          </ac:spMkLst>
        </pc:spChg>
        <pc:spChg chg="add del mod modVis">
          <ac:chgData name="Guinn, Sarah" userId="63e3ce5a-fcc6-474a-b3de-375720223e75" providerId="ADAL" clId="{D0183198-7876-4C7A-B1BE-BCAB6AE57610}" dt="2023-09-05T16:49:18.279" v="28420"/>
          <ac:spMkLst>
            <pc:docMk/>
            <pc:sldMk cId="2136892941" sldId="299"/>
            <ac:spMk id="436" creationId="{47579400-3F30-BE9E-1723-E6403C4EB754}"/>
          </ac:spMkLst>
        </pc:spChg>
        <pc:spChg chg="add del mod modVis">
          <ac:chgData name="Guinn, Sarah" userId="63e3ce5a-fcc6-474a-b3de-375720223e75" providerId="ADAL" clId="{D0183198-7876-4C7A-B1BE-BCAB6AE57610}" dt="2023-09-05T21:06:58.181" v="28551"/>
          <ac:spMkLst>
            <pc:docMk/>
            <pc:sldMk cId="2136892941" sldId="299"/>
            <ac:spMk id="438" creationId="{3284913E-8A2E-7AE9-3710-23E5985EAF41}"/>
          </ac:spMkLst>
        </pc:spChg>
        <pc:spChg chg="add del mod modVis">
          <ac:chgData name="Guinn, Sarah" userId="63e3ce5a-fcc6-474a-b3de-375720223e75" providerId="ADAL" clId="{D0183198-7876-4C7A-B1BE-BCAB6AE57610}" dt="2023-09-05T21:07:04.363" v="28694"/>
          <ac:spMkLst>
            <pc:docMk/>
            <pc:sldMk cId="2136892941" sldId="299"/>
            <ac:spMk id="440" creationId="{76E01ACA-BCC3-66EF-7368-CD2742D69A5E}"/>
          </ac:spMkLst>
        </pc:spChg>
        <pc:graphicFrameChg chg="add del mod ord replST">
          <ac:chgData name="Guinn, Sarah" userId="63e3ce5a-fcc6-474a-b3de-375720223e75" providerId="ADAL" clId="{D0183198-7876-4C7A-B1BE-BCAB6AE57610}" dt="2023-09-05T16:29:58.293" v="14661"/>
          <ac:graphicFrameMkLst>
            <pc:docMk/>
            <pc:sldMk cId="2136892941" sldId="299"/>
            <ac:graphicFrameMk id="5" creationId="{39A669E6-F683-AC64-2D27-A5267232A851}"/>
          </ac:graphicFrameMkLst>
        </pc:graphicFrameChg>
        <pc:graphicFrameChg chg="add del mod ord replST">
          <ac:chgData name="Guinn, Sarah" userId="63e3ce5a-fcc6-474a-b3de-375720223e75" providerId="ADAL" clId="{D0183198-7876-4C7A-B1BE-BCAB6AE57610}" dt="2023-09-05T16:28:42.184" v="12780"/>
          <ac:graphicFrameMkLst>
            <pc:docMk/>
            <pc:sldMk cId="2136892941" sldId="299"/>
            <ac:graphicFrameMk id="8" creationId="{E5019BD4-9CA0-B61B-69A3-49509FECC4C2}"/>
          </ac:graphicFrameMkLst>
        </pc:graphicFrameChg>
        <pc:graphicFrameChg chg="add del mod ord replST">
          <ac:chgData name="Guinn, Sarah" userId="63e3ce5a-fcc6-474a-b3de-375720223e75" providerId="ADAL" clId="{D0183198-7876-4C7A-B1BE-BCAB6AE57610}" dt="2023-09-05T16:29:22.620" v="13980"/>
          <ac:graphicFrameMkLst>
            <pc:docMk/>
            <pc:sldMk cId="2136892941" sldId="299"/>
            <ac:graphicFrameMk id="11" creationId="{27CE908C-AD8E-C617-A05D-6C88101760A8}"/>
          </ac:graphicFrameMkLst>
        </pc:graphicFrameChg>
        <pc:graphicFrameChg chg="add del mod replST">
          <ac:chgData name="Guinn, Sarah" userId="63e3ce5a-fcc6-474a-b3de-375720223e75" providerId="ADAL" clId="{D0183198-7876-4C7A-B1BE-BCAB6AE57610}" dt="2023-09-05T16:28:51.845" v="13373"/>
          <ac:graphicFrameMkLst>
            <pc:docMk/>
            <pc:sldMk cId="2136892941" sldId="299"/>
            <ac:graphicFrameMk id="12" creationId="{140A3093-07C2-24C6-F622-43067CCDDB74}"/>
          </ac:graphicFrameMkLst>
        </pc:graphicFrameChg>
        <pc:graphicFrameChg chg="add del mod ord replST">
          <ac:chgData name="Guinn, Sarah" userId="63e3ce5a-fcc6-474a-b3de-375720223e75" providerId="ADAL" clId="{D0183198-7876-4C7A-B1BE-BCAB6AE57610}" dt="2023-09-07T20:08:18.460" v="29360"/>
          <ac:graphicFrameMkLst>
            <pc:docMk/>
            <pc:sldMk cId="2136892941" sldId="299"/>
            <ac:graphicFrameMk id="17" creationId="{C9288FCB-DBB7-3FD6-7476-B3D5832D8B09}"/>
          </ac:graphicFrameMkLst>
        </pc:graphicFrameChg>
        <pc:graphicFrameChg chg="mod">
          <ac:chgData name="Guinn, Sarah" userId="63e3ce5a-fcc6-474a-b3de-375720223e75" providerId="ADAL" clId="{D0183198-7876-4C7A-B1BE-BCAB6AE57610}" dt="2023-09-07T20:30:09.082" v="35227"/>
          <ac:graphicFrameMkLst>
            <pc:docMk/>
            <pc:sldMk cId="2136892941" sldId="299"/>
            <ac:graphicFrameMk id="19" creationId="{325A9422-4AF2-6509-439E-B9984AAE940F}"/>
          </ac:graphicFrameMkLst>
        </pc:graphicFrameChg>
        <pc:graphicFrameChg chg="add del mod ord replST">
          <ac:chgData name="Guinn, Sarah" userId="63e3ce5a-fcc6-474a-b3de-375720223e75" providerId="ADAL" clId="{D0183198-7876-4C7A-B1BE-BCAB6AE57610}" dt="2023-09-07T20:08:25.026" v="29483"/>
          <ac:graphicFrameMkLst>
            <pc:docMk/>
            <pc:sldMk cId="2136892941" sldId="299"/>
            <ac:graphicFrameMk id="20" creationId="{B4587350-06F9-45D4-8F39-36D538C0CB51}"/>
          </ac:graphicFrameMkLst>
        </pc:graphicFrameChg>
        <pc:graphicFrameChg chg="add del mod ord replST">
          <ac:chgData name="Guinn, Sarah" userId="63e3ce5a-fcc6-474a-b3de-375720223e75" providerId="ADAL" clId="{D0183198-7876-4C7A-B1BE-BCAB6AE57610}" dt="2023-09-07T20:08:28.174" v="29610"/>
          <ac:graphicFrameMkLst>
            <pc:docMk/>
            <pc:sldMk cId="2136892941" sldId="299"/>
            <ac:graphicFrameMk id="22" creationId="{6FAA0A16-06D0-9943-1E77-046FD24B033D}"/>
          </ac:graphicFrameMkLst>
        </pc:graphicFrameChg>
        <pc:graphicFrameChg chg="add del mod ord replST">
          <ac:chgData name="Guinn, Sarah" userId="63e3ce5a-fcc6-474a-b3de-375720223e75" providerId="ADAL" clId="{D0183198-7876-4C7A-B1BE-BCAB6AE57610}" dt="2023-09-07T20:08:37.310" v="29709"/>
          <ac:graphicFrameMkLst>
            <pc:docMk/>
            <pc:sldMk cId="2136892941" sldId="299"/>
            <ac:graphicFrameMk id="24" creationId="{C0F532B2-9DE6-89B9-69DF-CF7DF2E739C3}"/>
          </ac:graphicFrameMkLst>
        </pc:graphicFrameChg>
        <pc:graphicFrameChg chg="add mod ord replST delST">
          <ac:chgData name="Guinn, Sarah" userId="63e3ce5a-fcc6-474a-b3de-375720223e75" providerId="ADAL" clId="{D0183198-7876-4C7A-B1BE-BCAB6AE57610}" dt="2023-09-05T16:28:51.845" v="13373"/>
          <ac:graphicFrameMkLst>
            <pc:docMk/>
            <pc:sldMk cId="2136892941" sldId="299"/>
            <ac:graphicFrameMk id="25" creationId="{292B2E98-E2EF-9EAC-D74F-33E6B98A759D}"/>
          </ac:graphicFrameMkLst>
        </pc:graphicFrameChg>
        <pc:graphicFrameChg chg="add del mod ord replST">
          <ac:chgData name="Guinn, Sarah" userId="63e3ce5a-fcc6-474a-b3de-375720223e75" providerId="ADAL" clId="{D0183198-7876-4C7A-B1BE-BCAB6AE57610}" dt="2023-09-07T20:08:38.678" v="29828"/>
          <ac:graphicFrameMkLst>
            <pc:docMk/>
            <pc:sldMk cId="2136892941" sldId="299"/>
            <ac:graphicFrameMk id="25" creationId="{AC89EF48-D5DD-74BA-F8AE-C17813CA692B}"/>
          </ac:graphicFrameMkLst>
        </pc:graphicFrameChg>
        <pc:graphicFrameChg chg="add del mod ord replST">
          <ac:chgData name="Guinn, Sarah" userId="63e3ce5a-fcc6-474a-b3de-375720223e75" providerId="ADAL" clId="{D0183198-7876-4C7A-B1BE-BCAB6AE57610}" dt="2023-09-07T20:08:46.492" v="29953"/>
          <ac:graphicFrameMkLst>
            <pc:docMk/>
            <pc:sldMk cId="2136892941" sldId="299"/>
            <ac:graphicFrameMk id="27" creationId="{A417C6FE-7793-7BC1-8DF9-9B9F3CBAD698}"/>
          </ac:graphicFrameMkLst>
        </pc:graphicFrameChg>
        <pc:graphicFrameChg chg="add del mod replST">
          <ac:chgData name="Guinn, Sarah" userId="63e3ce5a-fcc6-474a-b3de-375720223e75" providerId="ADAL" clId="{D0183198-7876-4C7A-B1BE-BCAB6AE57610}" dt="2023-09-05T16:29:01.436" v="13714"/>
          <ac:graphicFrameMkLst>
            <pc:docMk/>
            <pc:sldMk cId="2136892941" sldId="299"/>
            <ac:graphicFrameMk id="28" creationId="{CC12F000-A2B8-CEDF-6323-68032A931004}"/>
          </ac:graphicFrameMkLst>
        </pc:graphicFrameChg>
        <pc:graphicFrameChg chg="add del mod ord replST">
          <ac:chgData name="Guinn, Sarah" userId="63e3ce5a-fcc6-474a-b3de-375720223e75" providerId="ADAL" clId="{D0183198-7876-4C7A-B1BE-BCAB6AE57610}" dt="2023-09-07T20:08:47.249" v="30078"/>
          <ac:graphicFrameMkLst>
            <pc:docMk/>
            <pc:sldMk cId="2136892941" sldId="299"/>
            <ac:graphicFrameMk id="29" creationId="{82A53FD8-5451-1634-6E5D-D225BFF8F764}"/>
          </ac:graphicFrameMkLst>
        </pc:graphicFrameChg>
        <pc:graphicFrameChg chg="add del mod ord replST">
          <ac:chgData name="Guinn, Sarah" userId="63e3ce5a-fcc6-474a-b3de-375720223e75" providerId="ADAL" clId="{D0183198-7876-4C7A-B1BE-BCAB6AE57610}" dt="2023-09-07T20:14:09.052" v="34060"/>
          <ac:graphicFrameMkLst>
            <pc:docMk/>
            <pc:sldMk cId="2136892941" sldId="299"/>
            <ac:graphicFrameMk id="65" creationId="{4EE6CDBE-2AD6-BA30-AF96-8EB75A43505A}"/>
          </ac:graphicFrameMkLst>
        </pc:graphicFrameChg>
        <pc:graphicFrameChg chg="add del mod ord replST">
          <ac:chgData name="Guinn, Sarah" userId="63e3ce5a-fcc6-474a-b3de-375720223e75" providerId="ADAL" clId="{D0183198-7876-4C7A-B1BE-BCAB6AE57610}" dt="2023-09-05T16:38:46.752" v="18692"/>
          <ac:graphicFrameMkLst>
            <pc:docMk/>
            <pc:sldMk cId="2136892941" sldId="299"/>
            <ac:graphicFrameMk id="65" creationId="{CF00AC50-58FB-F402-B6EB-449540445FB3}"/>
          </ac:graphicFrameMkLst>
        </pc:graphicFrameChg>
        <pc:graphicFrameChg chg="add del mod ord replST">
          <ac:chgData name="Guinn, Sarah" userId="63e3ce5a-fcc6-474a-b3de-375720223e75" providerId="ADAL" clId="{D0183198-7876-4C7A-B1BE-BCAB6AE57610}" dt="2023-09-07T20:14:22.840" v="34136"/>
          <ac:graphicFrameMkLst>
            <pc:docMk/>
            <pc:sldMk cId="2136892941" sldId="299"/>
            <ac:graphicFrameMk id="66" creationId="{BC0ECECE-35D7-D67D-F356-96582CFA12D8}"/>
          </ac:graphicFrameMkLst>
        </pc:graphicFrameChg>
        <pc:graphicFrameChg chg="add del mod ord replST">
          <ac:chgData name="Guinn, Sarah" userId="63e3ce5a-fcc6-474a-b3de-375720223e75" providerId="ADAL" clId="{D0183198-7876-4C7A-B1BE-BCAB6AE57610}" dt="2023-09-07T20:23:04.319" v="34213"/>
          <ac:graphicFrameMkLst>
            <pc:docMk/>
            <pc:sldMk cId="2136892941" sldId="299"/>
            <ac:graphicFrameMk id="67" creationId="{AD020FC0-B14B-8B6D-72C7-B5F4F30A4325}"/>
          </ac:graphicFrameMkLst>
        </pc:graphicFrameChg>
        <pc:graphicFrameChg chg="add del mod ord replST">
          <ac:chgData name="Guinn, Sarah" userId="63e3ce5a-fcc6-474a-b3de-375720223e75" providerId="ADAL" clId="{D0183198-7876-4C7A-B1BE-BCAB6AE57610}" dt="2023-09-05T16:32:02.824" v="16426"/>
          <ac:graphicFrameMkLst>
            <pc:docMk/>
            <pc:sldMk cId="2136892941" sldId="299"/>
            <ac:graphicFrameMk id="67" creationId="{D2A52D56-5197-9277-6A1E-A81BF0CFE2B7}"/>
          </ac:graphicFrameMkLst>
        </pc:graphicFrameChg>
        <pc:graphicFrameChg chg="add del mod ord replST">
          <ac:chgData name="Guinn, Sarah" userId="63e3ce5a-fcc6-474a-b3de-375720223e75" providerId="ADAL" clId="{D0183198-7876-4C7A-B1BE-BCAB6AE57610}" dt="2023-09-07T20:24:19.011" v="34522"/>
          <ac:graphicFrameMkLst>
            <pc:docMk/>
            <pc:sldMk cId="2136892941" sldId="299"/>
            <ac:graphicFrameMk id="68" creationId="{9D5996E5-8878-0464-3BC0-BBB5D5FF3030}"/>
          </ac:graphicFrameMkLst>
        </pc:graphicFrameChg>
        <pc:graphicFrameChg chg="add del mod ord replST">
          <ac:chgData name="Guinn, Sarah" userId="63e3ce5a-fcc6-474a-b3de-375720223e75" providerId="ADAL" clId="{D0183198-7876-4C7A-B1BE-BCAB6AE57610}" dt="2023-09-07T20:25:58.458" v="34652"/>
          <ac:graphicFrameMkLst>
            <pc:docMk/>
            <pc:sldMk cId="2136892941" sldId="299"/>
            <ac:graphicFrameMk id="69" creationId="{63B80A51-20C3-C281-7BE7-7A89AE30D6C9}"/>
          </ac:graphicFrameMkLst>
        </pc:graphicFrameChg>
        <pc:graphicFrameChg chg="add del mod ord replST">
          <ac:chgData name="Guinn, Sarah" userId="63e3ce5a-fcc6-474a-b3de-375720223e75" providerId="ADAL" clId="{D0183198-7876-4C7A-B1BE-BCAB6AE57610}" dt="2023-09-05T16:38:46.605" v="18565"/>
          <ac:graphicFrameMkLst>
            <pc:docMk/>
            <pc:sldMk cId="2136892941" sldId="299"/>
            <ac:graphicFrameMk id="69" creationId="{6E3E077D-D942-5A6C-E1D1-571C37F10DF2}"/>
          </ac:graphicFrameMkLst>
        </pc:graphicFrameChg>
        <pc:graphicFrameChg chg="add del mod ord replST">
          <ac:chgData name="Guinn, Sarah" userId="63e3ce5a-fcc6-474a-b3de-375720223e75" providerId="ADAL" clId="{D0183198-7876-4C7A-B1BE-BCAB6AE57610}" dt="2023-09-07T20:30:09.051" v="35195"/>
          <ac:graphicFrameMkLst>
            <pc:docMk/>
            <pc:sldMk cId="2136892941" sldId="299"/>
            <ac:graphicFrameMk id="73" creationId="{C11BE25B-7BC7-C4D7-9E97-FD99794663A1}"/>
          </ac:graphicFrameMkLst>
        </pc:graphicFrameChg>
        <pc:graphicFrameChg chg="add mod ord replST delST">
          <ac:chgData name="Guinn, Sarah" userId="63e3ce5a-fcc6-474a-b3de-375720223e75" providerId="ADAL" clId="{D0183198-7876-4C7A-B1BE-BCAB6AE57610}" dt="2023-09-05T16:34:11.593" v="16663"/>
          <ac:graphicFrameMkLst>
            <pc:docMk/>
            <pc:sldMk cId="2136892941" sldId="299"/>
            <ac:graphicFrameMk id="74" creationId="{3A10A573-B43E-9346-A52B-C7A7FBAAEAE1}"/>
          </ac:graphicFrameMkLst>
        </pc:graphicFrameChg>
        <pc:graphicFrameChg chg="add mod ord replST">
          <ac:chgData name="Guinn, Sarah" userId="63e3ce5a-fcc6-474a-b3de-375720223e75" providerId="ADAL" clId="{D0183198-7876-4C7A-B1BE-BCAB6AE57610}" dt="2023-09-07T20:30:09.072" v="35207"/>
          <ac:graphicFrameMkLst>
            <pc:docMk/>
            <pc:sldMk cId="2136892941" sldId="299"/>
            <ac:graphicFrameMk id="77" creationId="{253F4B11-0F77-6FE7-683F-F0F841C68492}"/>
          </ac:graphicFrameMkLst>
        </pc:graphicFrameChg>
        <pc:graphicFrameChg chg="add mod ord replST delST">
          <ac:chgData name="Guinn, Sarah" userId="63e3ce5a-fcc6-474a-b3de-375720223e75" providerId="ADAL" clId="{D0183198-7876-4C7A-B1BE-BCAB6AE57610}" dt="2023-09-05T16:36:09.293" v="17865"/>
          <ac:graphicFrameMkLst>
            <pc:docMk/>
            <pc:sldMk cId="2136892941" sldId="299"/>
            <ac:graphicFrameMk id="78" creationId="{EA01BF05-824A-CC92-8E40-782B313B45F9}"/>
          </ac:graphicFrameMkLst>
        </pc:graphicFrameChg>
        <pc:graphicFrameChg chg="add mod ord replST delST">
          <ac:chgData name="Guinn, Sarah" userId="63e3ce5a-fcc6-474a-b3de-375720223e75" providerId="ADAL" clId="{D0183198-7876-4C7A-B1BE-BCAB6AE57610}" dt="2023-09-05T16:36:08.792" v="17703"/>
          <ac:graphicFrameMkLst>
            <pc:docMk/>
            <pc:sldMk cId="2136892941" sldId="299"/>
            <ac:graphicFrameMk id="80" creationId="{FFA7F785-A26A-A0D1-38E9-D3FE1E8C19B3}"/>
          </ac:graphicFrameMkLst>
        </pc:graphicFrameChg>
        <pc:graphicFrameChg chg="add mod ord replST delST">
          <ac:chgData name="Guinn, Sarah" userId="63e3ce5a-fcc6-474a-b3de-375720223e75" providerId="ADAL" clId="{D0183198-7876-4C7A-B1BE-BCAB6AE57610}" dt="2023-09-05T16:36:08.228" v="17541"/>
          <ac:graphicFrameMkLst>
            <pc:docMk/>
            <pc:sldMk cId="2136892941" sldId="299"/>
            <ac:graphicFrameMk id="82" creationId="{829A1CF7-C530-07AE-25BB-2BA28DA0402B}"/>
          </ac:graphicFrameMkLst>
        </pc:graphicFrameChg>
        <pc:graphicFrameChg chg="add del mod ord replST">
          <ac:chgData name="Guinn, Sarah" userId="63e3ce5a-fcc6-474a-b3de-375720223e75" providerId="ADAL" clId="{D0183198-7876-4C7A-B1BE-BCAB6AE57610}" dt="2023-09-05T16:38:49.478" v="18816"/>
          <ac:graphicFrameMkLst>
            <pc:docMk/>
            <pc:sldMk cId="2136892941" sldId="299"/>
            <ac:graphicFrameMk id="84" creationId="{54B0D84E-EF40-7881-3705-1F1FA4F033E8}"/>
          </ac:graphicFrameMkLst>
        </pc:graphicFrameChg>
        <pc:graphicFrameChg chg="add del mod ord replST">
          <ac:chgData name="Guinn, Sarah" userId="63e3ce5a-fcc6-474a-b3de-375720223e75" providerId="ADAL" clId="{D0183198-7876-4C7A-B1BE-BCAB6AE57610}" dt="2023-09-05T16:38:49.525" v="18839"/>
          <ac:graphicFrameMkLst>
            <pc:docMk/>
            <pc:sldMk cId="2136892941" sldId="299"/>
            <ac:graphicFrameMk id="85" creationId="{10F23F8D-78A8-7286-98BF-C7F0F65A3753}"/>
          </ac:graphicFrameMkLst>
        </pc:graphicFrameChg>
        <pc:graphicFrameChg chg="add del mod ord replST">
          <ac:chgData name="Guinn, Sarah" userId="63e3ce5a-fcc6-474a-b3de-375720223e75" providerId="ADAL" clId="{D0183198-7876-4C7A-B1BE-BCAB6AE57610}" dt="2023-09-05T16:38:49.567" v="18862"/>
          <ac:graphicFrameMkLst>
            <pc:docMk/>
            <pc:sldMk cId="2136892941" sldId="299"/>
            <ac:graphicFrameMk id="86" creationId="{4CA7296C-4FE7-C24E-70E2-98A04AFD0D90}"/>
          </ac:graphicFrameMkLst>
        </pc:graphicFrameChg>
        <pc:graphicFrameChg chg="add del mod ord replST">
          <ac:chgData name="Guinn, Sarah" userId="63e3ce5a-fcc6-474a-b3de-375720223e75" providerId="ADAL" clId="{D0183198-7876-4C7A-B1BE-BCAB6AE57610}" dt="2023-09-05T16:41:50.099" v="19405"/>
          <ac:graphicFrameMkLst>
            <pc:docMk/>
            <pc:sldMk cId="2136892941" sldId="299"/>
            <ac:graphicFrameMk id="88" creationId="{D6AB12EB-AFE4-D09A-4FD2-CEFE5B4B2A33}"/>
          </ac:graphicFrameMkLst>
        </pc:graphicFrameChg>
        <pc:graphicFrameChg chg="add del mod ord replST">
          <ac:chgData name="Guinn, Sarah" userId="63e3ce5a-fcc6-474a-b3de-375720223e75" providerId="ADAL" clId="{D0183198-7876-4C7A-B1BE-BCAB6AE57610}" dt="2023-09-05T16:45:39.081" v="21533"/>
          <ac:graphicFrameMkLst>
            <pc:docMk/>
            <pc:sldMk cId="2136892941" sldId="299"/>
            <ac:graphicFrameMk id="89" creationId="{ED307ED5-6EF6-B1BA-F675-593A389FF087}"/>
          </ac:graphicFrameMkLst>
        </pc:graphicFrameChg>
        <pc:graphicFrameChg chg="add del mod ord replST">
          <ac:chgData name="Guinn, Sarah" userId="63e3ce5a-fcc6-474a-b3de-375720223e75" providerId="ADAL" clId="{D0183198-7876-4C7A-B1BE-BCAB6AE57610}" dt="2023-09-05T16:46:03.378" v="22926"/>
          <ac:graphicFrameMkLst>
            <pc:docMk/>
            <pc:sldMk cId="2136892941" sldId="299"/>
            <ac:graphicFrameMk id="90" creationId="{01116BB4-A250-898C-9695-F9F1601CEF89}"/>
          </ac:graphicFrameMkLst>
        </pc:graphicFrameChg>
        <pc:graphicFrameChg chg="add del mod ord replST">
          <ac:chgData name="Guinn, Sarah" userId="63e3ce5a-fcc6-474a-b3de-375720223e75" providerId="ADAL" clId="{D0183198-7876-4C7A-B1BE-BCAB6AE57610}" dt="2023-09-05T16:41:51.019" v="19522"/>
          <ac:graphicFrameMkLst>
            <pc:docMk/>
            <pc:sldMk cId="2136892941" sldId="299"/>
            <ac:graphicFrameMk id="106" creationId="{18A214C1-CBB5-5FF3-A9E5-6554B7460148}"/>
          </ac:graphicFrameMkLst>
        </pc:graphicFrameChg>
        <pc:graphicFrameChg chg="add del mod ord replST">
          <ac:chgData name="Guinn, Sarah" userId="63e3ce5a-fcc6-474a-b3de-375720223e75" providerId="ADAL" clId="{D0183198-7876-4C7A-B1BE-BCAB6AE57610}" dt="2023-09-05T16:45:05.018" v="19670"/>
          <ac:graphicFrameMkLst>
            <pc:docMk/>
            <pc:sldMk cId="2136892941" sldId="299"/>
            <ac:graphicFrameMk id="108" creationId="{204F2998-E771-F5FA-5574-EF1D253E7BC3}"/>
          </ac:graphicFrameMkLst>
        </pc:graphicFrameChg>
        <pc:graphicFrameChg chg="add del mod ord replST">
          <ac:chgData name="Guinn, Sarah" userId="63e3ce5a-fcc6-474a-b3de-375720223e75" providerId="ADAL" clId="{D0183198-7876-4C7A-B1BE-BCAB6AE57610}" dt="2023-09-05T16:45:08.365" v="19779"/>
          <ac:graphicFrameMkLst>
            <pc:docMk/>
            <pc:sldMk cId="2136892941" sldId="299"/>
            <ac:graphicFrameMk id="111" creationId="{F7676264-4459-6C26-AF5E-7318F347167F}"/>
          </ac:graphicFrameMkLst>
        </pc:graphicFrameChg>
        <pc:graphicFrameChg chg="add del mod ord replST">
          <ac:chgData name="Guinn, Sarah" userId="63e3ce5a-fcc6-474a-b3de-375720223e75" providerId="ADAL" clId="{D0183198-7876-4C7A-B1BE-BCAB6AE57610}" dt="2023-09-05T16:45:10.700" v="19928"/>
          <ac:graphicFrameMkLst>
            <pc:docMk/>
            <pc:sldMk cId="2136892941" sldId="299"/>
            <ac:graphicFrameMk id="113" creationId="{838AD074-E792-F4E2-0A78-53570B39C6AF}"/>
          </ac:graphicFrameMkLst>
        </pc:graphicFrameChg>
        <pc:graphicFrameChg chg="add del mod ord replST">
          <ac:chgData name="Guinn, Sarah" userId="63e3ce5a-fcc6-474a-b3de-375720223e75" providerId="ADAL" clId="{D0183198-7876-4C7A-B1BE-BCAB6AE57610}" dt="2023-09-05T16:45:11.846" v="20033"/>
          <ac:graphicFrameMkLst>
            <pc:docMk/>
            <pc:sldMk cId="2136892941" sldId="299"/>
            <ac:graphicFrameMk id="123" creationId="{D9E43E9F-4154-1DCB-B658-95C74AA885A5}"/>
          </ac:graphicFrameMkLst>
        </pc:graphicFrameChg>
        <pc:graphicFrameChg chg="add del mod ord replST">
          <ac:chgData name="Guinn, Sarah" userId="63e3ce5a-fcc6-474a-b3de-375720223e75" providerId="ADAL" clId="{D0183198-7876-4C7A-B1BE-BCAB6AE57610}" dt="2023-09-05T16:45:13.041" v="20176"/>
          <ac:graphicFrameMkLst>
            <pc:docMk/>
            <pc:sldMk cId="2136892941" sldId="299"/>
            <ac:graphicFrameMk id="127" creationId="{0D252CCB-0C75-32D4-097E-E0DFAC927575}"/>
          </ac:graphicFrameMkLst>
        </pc:graphicFrameChg>
        <pc:graphicFrameChg chg="add del mod ord replST">
          <ac:chgData name="Guinn, Sarah" userId="63e3ce5a-fcc6-474a-b3de-375720223e75" providerId="ADAL" clId="{D0183198-7876-4C7A-B1BE-BCAB6AE57610}" dt="2023-09-07T20:08:48.032" v="30174"/>
          <ac:graphicFrameMkLst>
            <pc:docMk/>
            <pc:sldMk cId="2136892941" sldId="299"/>
            <ac:graphicFrameMk id="228" creationId="{6EDAFCA7-6F24-BBDB-54B7-84A375E595DD}"/>
          </ac:graphicFrameMkLst>
        </pc:graphicFrameChg>
        <pc:graphicFrameChg chg="add del mod ord replST">
          <ac:chgData name="Guinn, Sarah" userId="63e3ce5a-fcc6-474a-b3de-375720223e75" providerId="ADAL" clId="{D0183198-7876-4C7A-B1BE-BCAB6AE57610}" dt="2023-09-07T20:08:53.318" v="30318"/>
          <ac:graphicFrameMkLst>
            <pc:docMk/>
            <pc:sldMk cId="2136892941" sldId="299"/>
            <ac:graphicFrameMk id="229" creationId="{9F762988-FE12-6CBD-CABC-13A6CA624F0D}"/>
          </ac:graphicFrameMkLst>
        </pc:graphicFrameChg>
        <pc:graphicFrameChg chg="add del mod ord replST">
          <ac:chgData name="Guinn, Sarah" userId="63e3ce5a-fcc6-474a-b3de-375720223e75" providerId="ADAL" clId="{D0183198-7876-4C7A-B1BE-BCAB6AE57610}" dt="2023-09-07T20:08:55.447" v="30449"/>
          <ac:graphicFrameMkLst>
            <pc:docMk/>
            <pc:sldMk cId="2136892941" sldId="299"/>
            <ac:graphicFrameMk id="232" creationId="{62FAE503-F34D-1BDD-7E61-B088BAB99F3F}"/>
          </ac:graphicFrameMkLst>
        </pc:graphicFrameChg>
        <pc:graphicFrameChg chg="add del mod ord replST">
          <ac:chgData name="Guinn, Sarah" userId="63e3ce5a-fcc6-474a-b3de-375720223e75" providerId="ADAL" clId="{D0183198-7876-4C7A-B1BE-BCAB6AE57610}" dt="2023-09-05T16:29:30.483" v="14087"/>
          <ac:graphicFrameMkLst>
            <pc:docMk/>
            <pc:sldMk cId="2136892941" sldId="299"/>
            <ac:graphicFrameMk id="232" creationId="{FF8AC9C5-BD16-FC02-8B8A-12F88710599F}"/>
          </ac:graphicFrameMkLst>
        </pc:graphicFrameChg>
        <pc:graphicFrameChg chg="add del mod ord replST">
          <ac:chgData name="Guinn, Sarah" userId="63e3ce5a-fcc6-474a-b3de-375720223e75" providerId="ADAL" clId="{D0183198-7876-4C7A-B1BE-BCAB6AE57610}" dt="2023-09-07T20:08:58.222" v="30578"/>
          <ac:graphicFrameMkLst>
            <pc:docMk/>
            <pc:sldMk cId="2136892941" sldId="299"/>
            <ac:graphicFrameMk id="234" creationId="{36F00D57-A8DB-4BF7-9C67-21EB7794E031}"/>
          </ac:graphicFrameMkLst>
        </pc:graphicFrameChg>
        <pc:graphicFrameChg chg="add del mod ord replST">
          <ac:chgData name="Guinn, Sarah" userId="63e3ce5a-fcc6-474a-b3de-375720223e75" providerId="ADAL" clId="{D0183198-7876-4C7A-B1BE-BCAB6AE57610}" dt="2023-09-05T16:29:34.173" v="14185"/>
          <ac:graphicFrameMkLst>
            <pc:docMk/>
            <pc:sldMk cId="2136892941" sldId="299"/>
            <ac:graphicFrameMk id="234" creationId="{4B2C2D9E-8D71-0DA6-9941-EA501BE75996}"/>
          </ac:graphicFrameMkLst>
        </pc:graphicFrameChg>
        <pc:graphicFrameChg chg="add del mod ord replST">
          <ac:chgData name="Guinn, Sarah" userId="63e3ce5a-fcc6-474a-b3de-375720223e75" providerId="ADAL" clId="{D0183198-7876-4C7A-B1BE-BCAB6AE57610}" dt="2023-09-07T20:08:59.743" v="30703"/>
          <ac:graphicFrameMkLst>
            <pc:docMk/>
            <pc:sldMk cId="2136892941" sldId="299"/>
            <ac:graphicFrameMk id="236" creationId="{EDC672A6-9B79-065A-C71A-0E67A2C2B0A6}"/>
          </ac:graphicFrameMkLst>
        </pc:graphicFrameChg>
        <pc:graphicFrameChg chg="add del mod ord replST">
          <ac:chgData name="Guinn, Sarah" userId="63e3ce5a-fcc6-474a-b3de-375720223e75" providerId="ADAL" clId="{D0183198-7876-4C7A-B1BE-BCAB6AE57610}" dt="2023-09-05T16:29:40.778" v="14379"/>
          <ac:graphicFrameMkLst>
            <pc:docMk/>
            <pc:sldMk cId="2136892941" sldId="299"/>
            <ac:graphicFrameMk id="237" creationId="{26EEC508-E89C-9308-0551-6E9BF1EE352E}"/>
          </ac:graphicFrameMkLst>
        </pc:graphicFrameChg>
        <pc:graphicFrameChg chg="add del mod ord replST">
          <ac:chgData name="Guinn, Sarah" userId="63e3ce5a-fcc6-474a-b3de-375720223e75" providerId="ADAL" clId="{D0183198-7876-4C7A-B1BE-BCAB6AE57610}" dt="2023-09-07T20:09:00.941" v="30863"/>
          <ac:graphicFrameMkLst>
            <pc:docMk/>
            <pc:sldMk cId="2136892941" sldId="299"/>
            <ac:graphicFrameMk id="238" creationId="{C857CB58-7B9A-E23B-3F35-C9219BB8DF3C}"/>
          </ac:graphicFrameMkLst>
        </pc:graphicFrameChg>
        <pc:graphicFrameChg chg="add del mod ord replST">
          <ac:chgData name="Guinn, Sarah" userId="63e3ce5a-fcc6-474a-b3de-375720223e75" providerId="ADAL" clId="{D0183198-7876-4C7A-B1BE-BCAB6AE57610}" dt="2023-09-05T16:29:36.887" v="14284"/>
          <ac:graphicFrameMkLst>
            <pc:docMk/>
            <pc:sldMk cId="2136892941" sldId="299"/>
            <ac:graphicFrameMk id="240" creationId="{4B4E7106-1B90-3634-3F6F-85A17CC5C787}"/>
          </ac:graphicFrameMkLst>
        </pc:graphicFrameChg>
        <pc:graphicFrameChg chg="add del mod ord replST">
          <ac:chgData name="Guinn, Sarah" userId="63e3ce5a-fcc6-474a-b3de-375720223e75" providerId="ADAL" clId="{D0183198-7876-4C7A-B1BE-BCAB6AE57610}" dt="2023-09-07T20:09:02.172" v="31027"/>
          <ac:graphicFrameMkLst>
            <pc:docMk/>
            <pc:sldMk cId="2136892941" sldId="299"/>
            <ac:graphicFrameMk id="242" creationId="{58F1586E-9DCC-B68C-9B06-1EF465C7FA3F}"/>
          </ac:graphicFrameMkLst>
        </pc:graphicFrameChg>
        <pc:graphicFrameChg chg="add del mod ord replST">
          <ac:chgData name="Guinn, Sarah" userId="63e3ce5a-fcc6-474a-b3de-375720223e75" providerId="ADAL" clId="{D0183198-7876-4C7A-B1BE-BCAB6AE57610}" dt="2023-09-05T16:30:04.356" v="14749"/>
          <ac:graphicFrameMkLst>
            <pc:docMk/>
            <pc:sldMk cId="2136892941" sldId="299"/>
            <ac:graphicFrameMk id="243" creationId="{8016E5A2-E11A-B2F5-51EB-D6EE7948445E}"/>
          </ac:graphicFrameMkLst>
        </pc:graphicFrameChg>
        <pc:graphicFrameChg chg="add del mod ord replST">
          <ac:chgData name="Guinn, Sarah" userId="63e3ce5a-fcc6-474a-b3de-375720223e75" providerId="ADAL" clId="{D0183198-7876-4C7A-B1BE-BCAB6AE57610}" dt="2023-09-05T16:29:47.360" v="14473"/>
          <ac:graphicFrameMkLst>
            <pc:docMk/>
            <pc:sldMk cId="2136892941" sldId="299"/>
            <ac:graphicFrameMk id="245" creationId="{87A19E7A-2ECC-AAC9-3AA1-0B9584234C95}"/>
          </ac:graphicFrameMkLst>
        </pc:graphicFrameChg>
        <pc:graphicFrameChg chg="add del mod ord replST">
          <ac:chgData name="Guinn, Sarah" userId="63e3ce5a-fcc6-474a-b3de-375720223e75" providerId="ADAL" clId="{D0183198-7876-4C7A-B1BE-BCAB6AE57610}" dt="2023-09-07T20:09:11.018" v="31197"/>
          <ac:graphicFrameMkLst>
            <pc:docMk/>
            <pc:sldMk cId="2136892941" sldId="299"/>
            <ac:graphicFrameMk id="246" creationId="{FF2BA027-2109-942E-DBCF-806A793A384C}"/>
          </ac:graphicFrameMkLst>
        </pc:graphicFrameChg>
        <pc:graphicFrameChg chg="add del mod ord replST">
          <ac:chgData name="Guinn, Sarah" userId="63e3ce5a-fcc6-474a-b3de-375720223e75" providerId="ADAL" clId="{D0183198-7876-4C7A-B1BE-BCAB6AE57610}" dt="2023-09-05T16:31:22.314" v="15633"/>
          <ac:graphicFrameMkLst>
            <pc:docMk/>
            <pc:sldMk cId="2136892941" sldId="299"/>
            <ac:graphicFrameMk id="247" creationId="{44C945A0-FE70-0FD0-8D6E-61F853DDA9BE}"/>
          </ac:graphicFrameMkLst>
        </pc:graphicFrameChg>
        <pc:graphicFrameChg chg="add del mod ord replST">
          <ac:chgData name="Guinn, Sarah" userId="63e3ce5a-fcc6-474a-b3de-375720223e75" providerId="ADAL" clId="{D0183198-7876-4C7A-B1BE-BCAB6AE57610}" dt="2023-09-07T20:09:12.081" v="31392"/>
          <ac:graphicFrameMkLst>
            <pc:docMk/>
            <pc:sldMk cId="2136892941" sldId="299"/>
            <ac:graphicFrameMk id="249" creationId="{179683FF-46F0-E16C-1782-3AE62B567A67}"/>
          </ac:graphicFrameMkLst>
        </pc:graphicFrameChg>
        <pc:graphicFrameChg chg="add del mod ord replST">
          <ac:chgData name="Guinn, Sarah" userId="63e3ce5a-fcc6-474a-b3de-375720223e75" providerId="ADAL" clId="{D0183198-7876-4C7A-B1BE-BCAB6AE57610}" dt="2023-09-05T16:30:13.110" v="14835"/>
          <ac:graphicFrameMkLst>
            <pc:docMk/>
            <pc:sldMk cId="2136892941" sldId="299"/>
            <ac:graphicFrameMk id="250" creationId="{95EE802E-5E27-C4CF-9FAE-493430C48EEE}"/>
          </ac:graphicFrameMkLst>
        </pc:graphicFrameChg>
        <pc:graphicFrameChg chg="add del mod ord replST">
          <ac:chgData name="Guinn, Sarah" userId="63e3ce5a-fcc6-474a-b3de-375720223e75" providerId="ADAL" clId="{D0183198-7876-4C7A-B1BE-BCAB6AE57610}" dt="2023-09-07T20:09:12.889" v="31582"/>
          <ac:graphicFrameMkLst>
            <pc:docMk/>
            <pc:sldMk cId="2136892941" sldId="299"/>
            <ac:graphicFrameMk id="252" creationId="{2508293A-18E9-8035-5E40-D87B039C723D}"/>
          </ac:graphicFrameMkLst>
        </pc:graphicFrameChg>
        <pc:graphicFrameChg chg="add del mod ord replST">
          <ac:chgData name="Guinn, Sarah" userId="63e3ce5a-fcc6-474a-b3de-375720223e75" providerId="ADAL" clId="{D0183198-7876-4C7A-B1BE-BCAB6AE57610}" dt="2023-09-05T16:30:34.033" v="15093"/>
          <ac:graphicFrameMkLst>
            <pc:docMk/>
            <pc:sldMk cId="2136892941" sldId="299"/>
            <ac:graphicFrameMk id="252" creationId="{8AD96628-23F0-D862-5FD5-5157FB406C09}"/>
          </ac:graphicFrameMkLst>
        </pc:graphicFrameChg>
        <pc:graphicFrameChg chg="add del mod ord replST">
          <ac:chgData name="Guinn, Sarah" userId="63e3ce5a-fcc6-474a-b3de-375720223e75" providerId="ADAL" clId="{D0183198-7876-4C7A-B1BE-BCAB6AE57610}" dt="2023-09-05T16:30:19.205" v="14921"/>
          <ac:graphicFrameMkLst>
            <pc:docMk/>
            <pc:sldMk cId="2136892941" sldId="299"/>
            <ac:graphicFrameMk id="254" creationId="{D6D58518-225F-AF13-31F9-B95D2B1220EE}"/>
          </ac:graphicFrameMkLst>
        </pc:graphicFrameChg>
        <pc:graphicFrameChg chg="del mod ord">
          <ac:chgData name="Guinn, Sarah" userId="63e3ce5a-fcc6-474a-b3de-375720223e75" providerId="ADAL" clId="{D0183198-7876-4C7A-B1BE-BCAB6AE57610}" dt="2023-09-05T16:28:39.774" v="12677"/>
          <ac:graphicFrameMkLst>
            <pc:docMk/>
            <pc:sldMk cId="2136892941" sldId="299"/>
            <ac:graphicFrameMk id="255" creationId="{41EF4107-9BE2-E9E5-8AC0-E73BD9CBCA30}"/>
          </ac:graphicFrameMkLst>
        </pc:graphicFrameChg>
        <pc:graphicFrameChg chg="add del mod ord replST">
          <ac:chgData name="Guinn, Sarah" userId="63e3ce5a-fcc6-474a-b3de-375720223e75" providerId="ADAL" clId="{D0183198-7876-4C7A-B1BE-BCAB6AE57610}" dt="2023-09-07T20:09:13.887" v="31778"/>
          <ac:graphicFrameMkLst>
            <pc:docMk/>
            <pc:sldMk cId="2136892941" sldId="299"/>
            <ac:graphicFrameMk id="256" creationId="{514805EB-05A8-1BCA-7CE3-0884B46A5CC7}"/>
          </ac:graphicFrameMkLst>
        </pc:graphicFrameChg>
        <pc:graphicFrameChg chg="add del mod ord replST">
          <ac:chgData name="Guinn, Sarah" userId="63e3ce5a-fcc6-474a-b3de-375720223e75" providerId="ADAL" clId="{D0183198-7876-4C7A-B1BE-BCAB6AE57610}" dt="2023-09-05T16:30:26.614" v="15007"/>
          <ac:graphicFrameMkLst>
            <pc:docMk/>
            <pc:sldMk cId="2136892941" sldId="299"/>
            <ac:graphicFrameMk id="257" creationId="{527FA416-18C7-6F5C-23F4-FDE215160E6C}"/>
          </ac:graphicFrameMkLst>
        </pc:graphicFrameChg>
        <pc:graphicFrameChg chg="del">
          <ac:chgData name="Guinn, Sarah" userId="63e3ce5a-fcc6-474a-b3de-375720223e75" providerId="ADAL" clId="{D0183198-7876-4C7A-B1BE-BCAB6AE57610}" dt="2023-09-05T16:28:36.012" v="12451"/>
          <ac:graphicFrameMkLst>
            <pc:docMk/>
            <pc:sldMk cId="2136892941" sldId="299"/>
            <ac:graphicFrameMk id="259" creationId="{A18E4EA1-9B31-4FA5-4815-4E9B0C69A984}"/>
          </ac:graphicFrameMkLst>
        </pc:graphicFrameChg>
        <pc:graphicFrameChg chg="add del mod ord replST">
          <ac:chgData name="Guinn, Sarah" userId="63e3ce5a-fcc6-474a-b3de-375720223e75" providerId="ADAL" clId="{D0183198-7876-4C7A-B1BE-BCAB6AE57610}" dt="2023-09-07T20:09:14.762" v="31944"/>
          <ac:graphicFrameMkLst>
            <pc:docMk/>
            <pc:sldMk cId="2136892941" sldId="299"/>
            <ac:graphicFrameMk id="259" creationId="{D45516F1-A22D-5BD2-1604-39CFEC1540E8}"/>
          </ac:graphicFrameMkLst>
        </pc:graphicFrameChg>
        <pc:graphicFrameChg chg="add del mod ord replST">
          <ac:chgData name="Guinn, Sarah" userId="63e3ce5a-fcc6-474a-b3de-375720223e75" providerId="ADAL" clId="{D0183198-7876-4C7A-B1BE-BCAB6AE57610}" dt="2023-09-05T16:31:49.843" v="16064"/>
          <ac:graphicFrameMkLst>
            <pc:docMk/>
            <pc:sldMk cId="2136892941" sldId="299"/>
            <ac:graphicFrameMk id="260" creationId="{9380F9DE-05AE-3DBF-E64F-1F946A1814E0}"/>
          </ac:graphicFrameMkLst>
        </pc:graphicFrameChg>
        <pc:graphicFrameChg chg="add del mod ord replST">
          <ac:chgData name="Guinn, Sarah" userId="63e3ce5a-fcc6-474a-b3de-375720223e75" providerId="ADAL" clId="{D0183198-7876-4C7A-B1BE-BCAB6AE57610}" dt="2023-09-05T16:30:39.079" v="15179"/>
          <ac:graphicFrameMkLst>
            <pc:docMk/>
            <pc:sldMk cId="2136892941" sldId="299"/>
            <ac:graphicFrameMk id="262" creationId="{52AF287B-1158-1221-C1EE-1C814333695F}"/>
          </ac:graphicFrameMkLst>
        </pc:graphicFrameChg>
        <pc:graphicFrameChg chg="add del mod ord replST">
          <ac:chgData name="Guinn, Sarah" userId="63e3ce5a-fcc6-474a-b3de-375720223e75" providerId="ADAL" clId="{D0183198-7876-4C7A-B1BE-BCAB6AE57610}" dt="2023-09-07T20:09:33.048" v="32083"/>
          <ac:graphicFrameMkLst>
            <pc:docMk/>
            <pc:sldMk cId="2136892941" sldId="299"/>
            <ac:graphicFrameMk id="262" creationId="{7DD8AC29-4D6F-D5B7-E6FC-CC85D4641093}"/>
          </ac:graphicFrameMkLst>
        </pc:graphicFrameChg>
        <pc:graphicFrameChg chg="add del mod ord replST">
          <ac:chgData name="Guinn, Sarah" userId="63e3ce5a-fcc6-474a-b3de-375720223e75" providerId="ADAL" clId="{D0183198-7876-4C7A-B1BE-BCAB6AE57610}" dt="2023-09-05T16:30:48.396" v="15265"/>
          <ac:graphicFrameMkLst>
            <pc:docMk/>
            <pc:sldMk cId="2136892941" sldId="299"/>
            <ac:graphicFrameMk id="264" creationId="{0446A7B8-68AC-419E-7E36-8416FF4DFA05}"/>
          </ac:graphicFrameMkLst>
        </pc:graphicFrameChg>
        <pc:graphicFrameChg chg="add del mod ord replST">
          <ac:chgData name="Guinn, Sarah" userId="63e3ce5a-fcc6-474a-b3de-375720223e75" providerId="ADAL" clId="{D0183198-7876-4C7A-B1BE-BCAB6AE57610}" dt="2023-09-07T20:09:52.208" v="32222"/>
          <ac:graphicFrameMkLst>
            <pc:docMk/>
            <pc:sldMk cId="2136892941" sldId="299"/>
            <ac:graphicFrameMk id="264" creationId="{C157E778-9CD8-18F2-6C43-1BC8E0EA3D7D}"/>
          </ac:graphicFrameMkLst>
        </pc:graphicFrameChg>
        <pc:graphicFrameChg chg="add del mod ord replST">
          <ac:chgData name="Guinn, Sarah" userId="63e3ce5a-fcc6-474a-b3de-375720223e75" providerId="ADAL" clId="{D0183198-7876-4C7A-B1BE-BCAB6AE57610}" dt="2023-09-07T20:09:58.925" v="32419"/>
          <ac:graphicFrameMkLst>
            <pc:docMk/>
            <pc:sldMk cId="2136892941" sldId="299"/>
            <ac:graphicFrameMk id="266" creationId="{48FE1EC6-BA77-9C4D-C60B-0B67070EE51F}"/>
          </ac:graphicFrameMkLst>
        </pc:graphicFrameChg>
        <pc:graphicFrameChg chg="add del mod ord replST">
          <ac:chgData name="Guinn, Sarah" userId="63e3ce5a-fcc6-474a-b3de-375720223e75" providerId="ADAL" clId="{D0183198-7876-4C7A-B1BE-BCAB6AE57610}" dt="2023-09-05T16:30:59.756" v="15351"/>
          <ac:graphicFrameMkLst>
            <pc:docMk/>
            <pc:sldMk cId="2136892941" sldId="299"/>
            <ac:graphicFrameMk id="266" creationId="{ABF1BC18-3C30-8473-0B21-B0AD0670BE1A}"/>
          </ac:graphicFrameMkLst>
        </pc:graphicFrameChg>
        <pc:graphicFrameChg chg="add del mod ord replST">
          <ac:chgData name="Guinn, Sarah" userId="63e3ce5a-fcc6-474a-b3de-375720223e75" providerId="ADAL" clId="{D0183198-7876-4C7A-B1BE-BCAB6AE57610}" dt="2023-09-07T20:10:22.756" v="32631"/>
          <ac:graphicFrameMkLst>
            <pc:docMk/>
            <pc:sldMk cId="2136892941" sldId="299"/>
            <ac:graphicFrameMk id="267" creationId="{4C9F8C60-F864-970B-6B6B-F3B2A254D0AE}"/>
          </ac:graphicFrameMkLst>
        </pc:graphicFrameChg>
        <pc:graphicFrameChg chg="add del mod ord replST">
          <ac:chgData name="Guinn, Sarah" userId="63e3ce5a-fcc6-474a-b3de-375720223e75" providerId="ADAL" clId="{D0183198-7876-4C7A-B1BE-BCAB6AE57610}" dt="2023-09-05T16:31:04.170" v="15449"/>
          <ac:graphicFrameMkLst>
            <pc:docMk/>
            <pc:sldMk cId="2136892941" sldId="299"/>
            <ac:graphicFrameMk id="268" creationId="{31B6F993-000D-2846-F3A8-FD5254C22937}"/>
          </ac:graphicFrameMkLst>
        </pc:graphicFrameChg>
        <pc:graphicFrameChg chg="add del mod ord replST">
          <ac:chgData name="Guinn, Sarah" userId="63e3ce5a-fcc6-474a-b3de-375720223e75" providerId="ADAL" clId="{D0183198-7876-4C7A-B1BE-BCAB6AE57610}" dt="2023-09-07T20:11:26.135" v="32925"/>
          <ac:graphicFrameMkLst>
            <pc:docMk/>
            <pc:sldMk cId="2136892941" sldId="299"/>
            <ac:graphicFrameMk id="268" creationId="{C6A02CC2-4D2C-B095-43EF-64192363544B}"/>
          </ac:graphicFrameMkLst>
        </pc:graphicFrameChg>
        <pc:graphicFrameChg chg="add del mod ord replST">
          <ac:chgData name="Guinn, Sarah" userId="63e3ce5a-fcc6-474a-b3de-375720223e75" providerId="ADAL" clId="{D0183198-7876-4C7A-B1BE-BCAB6AE57610}" dt="2023-09-05T16:31:13.154" v="15547"/>
          <ac:graphicFrameMkLst>
            <pc:docMk/>
            <pc:sldMk cId="2136892941" sldId="299"/>
            <ac:graphicFrameMk id="270" creationId="{52F30B31-E0B3-C4D2-09C0-E1E518C837A2}"/>
          </ac:graphicFrameMkLst>
        </pc:graphicFrameChg>
        <pc:graphicFrameChg chg="add del mod ord replST">
          <ac:chgData name="Guinn, Sarah" userId="63e3ce5a-fcc6-474a-b3de-375720223e75" providerId="ADAL" clId="{D0183198-7876-4C7A-B1BE-BCAB6AE57610}" dt="2023-09-07T20:11:52.421" v="32987"/>
          <ac:graphicFrameMkLst>
            <pc:docMk/>
            <pc:sldMk cId="2136892941" sldId="299"/>
            <ac:graphicFrameMk id="271" creationId="{3B18B810-0164-227B-0746-134EE598F586}"/>
          </ac:graphicFrameMkLst>
        </pc:graphicFrameChg>
        <pc:graphicFrameChg chg="add del mod ord replST">
          <ac:chgData name="Guinn, Sarah" userId="63e3ce5a-fcc6-474a-b3de-375720223e75" providerId="ADAL" clId="{D0183198-7876-4C7A-B1BE-BCAB6AE57610}" dt="2023-09-07T20:11:53.452" v="33049"/>
          <ac:graphicFrameMkLst>
            <pc:docMk/>
            <pc:sldMk cId="2136892941" sldId="299"/>
            <ac:graphicFrameMk id="272" creationId="{701D1783-40E4-53A6-54FC-561F03348974}"/>
          </ac:graphicFrameMkLst>
        </pc:graphicFrameChg>
        <pc:graphicFrameChg chg="add del mod ord replST">
          <ac:chgData name="Guinn, Sarah" userId="63e3ce5a-fcc6-474a-b3de-375720223e75" providerId="ADAL" clId="{D0183198-7876-4C7A-B1BE-BCAB6AE57610}" dt="2023-09-05T16:31:52.320" v="16151"/>
          <ac:graphicFrameMkLst>
            <pc:docMk/>
            <pc:sldMk cId="2136892941" sldId="299"/>
            <ac:graphicFrameMk id="272" creationId="{BAD990BF-43EF-658F-5FB1-3CEF023CF852}"/>
          </ac:graphicFrameMkLst>
        </pc:graphicFrameChg>
        <pc:graphicFrameChg chg="add del mod ord replST">
          <ac:chgData name="Guinn, Sarah" userId="63e3ce5a-fcc6-474a-b3de-375720223e75" providerId="ADAL" clId="{D0183198-7876-4C7A-B1BE-BCAB6AE57610}" dt="2023-09-07T20:11:55.067" v="33109"/>
          <ac:graphicFrameMkLst>
            <pc:docMk/>
            <pc:sldMk cId="2136892941" sldId="299"/>
            <ac:graphicFrameMk id="273" creationId="{80627BE5-0E6D-514F-36BD-F305D34B7572}"/>
          </ac:graphicFrameMkLst>
        </pc:graphicFrameChg>
        <pc:graphicFrameChg chg="add del mod ord replST">
          <ac:chgData name="Guinn, Sarah" userId="63e3ce5a-fcc6-474a-b3de-375720223e75" providerId="ADAL" clId="{D0183198-7876-4C7A-B1BE-BCAB6AE57610}" dt="2023-09-05T16:31:26.802" v="15719"/>
          <ac:graphicFrameMkLst>
            <pc:docMk/>
            <pc:sldMk cId="2136892941" sldId="299"/>
            <ac:graphicFrameMk id="274" creationId="{18CBB1E6-18E5-C7D5-7C5B-30FCCDAC606A}"/>
          </ac:graphicFrameMkLst>
        </pc:graphicFrameChg>
        <pc:graphicFrameChg chg="add del mod ord replST">
          <ac:chgData name="Guinn, Sarah" userId="63e3ce5a-fcc6-474a-b3de-375720223e75" providerId="ADAL" clId="{D0183198-7876-4C7A-B1BE-BCAB6AE57610}" dt="2023-09-07T20:11:55.486" v="33166"/>
          <ac:graphicFrameMkLst>
            <pc:docMk/>
            <pc:sldMk cId="2136892941" sldId="299"/>
            <ac:graphicFrameMk id="274" creationId="{3E59F774-ECE5-1460-38B7-3C3BC11B5EC7}"/>
          </ac:graphicFrameMkLst>
        </pc:graphicFrameChg>
        <pc:graphicFrameChg chg="add del mod ord replST">
          <ac:chgData name="Guinn, Sarah" userId="63e3ce5a-fcc6-474a-b3de-375720223e75" providerId="ADAL" clId="{D0183198-7876-4C7A-B1BE-BCAB6AE57610}" dt="2023-09-07T20:11:56.664" v="33226"/>
          <ac:graphicFrameMkLst>
            <pc:docMk/>
            <pc:sldMk cId="2136892941" sldId="299"/>
            <ac:graphicFrameMk id="275" creationId="{7F8AD565-E984-9142-EBE2-407BBD5DE606}"/>
          </ac:graphicFrameMkLst>
        </pc:graphicFrameChg>
        <pc:graphicFrameChg chg="add del mod ord replST">
          <ac:chgData name="Guinn, Sarah" userId="63e3ce5a-fcc6-474a-b3de-375720223e75" providerId="ADAL" clId="{D0183198-7876-4C7A-B1BE-BCAB6AE57610}" dt="2023-09-07T20:12:01.234" v="33285"/>
          <ac:graphicFrameMkLst>
            <pc:docMk/>
            <pc:sldMk cId="2136892941" sldId="299"/>
            <ac:graphicFrameMk id="276" creationId="{DB264966-B8B3-9E3E-B086-52ED90071512}"/>
          </ac:graphicFrameMkLst>
        </pc:graphicFrameChg>
        <pc:graphicFrameChg chg="add del mod ord replST">
          <ac:chgData name="Guinn, Sarah" userId="63e3ce5a-fcc6-474a-b3de-375720223e75" providerId="ADAL" clId="{D0183198-7876-4C7A-B1BE-BCAB6AE57610}" dt="2023-09-05T16:31:30.551" v="15805"/>
          <ac:graphicFrameMkLst>
            <pc:docMk/>
            <pc:sldMk cId="2136892941" sldId="299"/>
            <ac:graphicFrameMk id="276" creationId="{F16BCFDA-958B-6E99-2C18-131412B6C4B3}"/>
          </ac:graphicFrameMkLst>
        </pc:graphicFrameChg>
        <pc:graphicFrameChg chg="add del mod ord replST">
          <ac:chgData name="Guinn, Sarah" userId="63e3ce5a-fcc6-474a-b3de-375720223e75" providerId="ADAL" clId="{D0183198-7876-4C7A-B1BE-BCAB6AE57610}" dt="2023-09-07T20:12:14.180" v="33415"/>
          <ac:graphicFrameMkLst>
            <pc:docMk/>
            <pc:sldMk cId="2136892941" sldId="299"/>
            <ac:graphicFrameMk id="277" creationId="{D0591129-D511-04C5-9944-624694108E9D}"/>
          </ac:graphicFrameMkLst>
        </pc:graphicFrameChg>
        <pc:graphicFrameChg chg="add del mod ord replST">
          <ac:chgData name="Guinn, Sarah" userId="63e3ce5a-fcc6-474a-b3de-375720223e75" providerId="ADAL" clId="{D0183198-7876-4C7A-B1BE-BCAB6AE57610}" dt="2023-09-05T16:31:34.612" v="15891"/>
          <ac:graphicFrameMkLst>
            <pc:docMk/>
            <pc:sldMk cId="2136892941" sldId="299"/>
            <ac:graphicFrameMk id="278" creationId="{0FF9C3FA-8BAA-0102-6C2D-15C6EC4E5066}"/>
          </ac:graphicFrameMkLst>
        </pc:graphicFrameChg>
        <pc:graphicFrameChg chg="add del mod ord replST">
          <ac:chgData name="Guinn, Sarah" userId="63e3ce5a-fcc6-474a-b3de-375720223e75" providerId="ADAL" clId="{D0183198-7876-4C7A-B1BE-BCAB6AE57610}" dt="2023-09-07T20:12:57.820" v="33548"/>
          <ac:graphicFrameMkLst>
            <pc:docMk/>
            <pc:sldMk cId="2136892941" sldId="299"/>
            <ac:graphicFrameMk id="278" creationId="{11F4929B-E65B-F694-CEF0-18CE3A885CA1}"/>
          </ac:graphicFrameMkLst>
        </pc:graphicFrameChg>
        <pc:graphicFrameChg chg="add del mod ord replST">
          <ac:chgData name="Guinn, Sarah" userId="63e3ce5a-fcc6-474a-b3de-375720223e75" providerId="ADAL" clId="{D0183198-7876-4C7A-B1BE-BCAB6AE57610}" dt="2023-09-05T16:31:37.863" v="15977"/>
          <ac:graphicFrameMkLst>
            <pc:docMk/>
            <pc:sldMk cId="2136892941" sldId="299"/>
            <ac:graphicFrameMk id="280" creationId="{B4149E38-58C3-056F-FB3F-0212447F45AF}"/>
          </ac:graphicFrameMkLst>
        </pc:graphicFrameChg>
        <pc:graphicFrameChg chg="add del mod ord replST">
          <ac:chgData name="Guinn, Sarah" userId="63e3ce5a-fcc6-474a-b3de-375720223e75" providerId="ADAL" clId="{D0183198-7876-4C7A-B1BE-BCAB6AE57610}" dt="2023-09-07T20:13:05.227" v="33639"/>
          <ac:graphicFrameMkLst>
            <pc:docMk/>
            <pc:sldMk cId="2136892941" sldId="299"/>
            <ac:graphicFrameMk id="281" creationId="{162E86D3-4A15-5E46-B9FD-9B3595B77AF2}"/>
          </ac:graphicFrameMkLst>
        </pc:graphicFrameChg>
        <pc:graphicFrameChg chg="add del mod ord replST">
          <ac:chgData name="Guinn, Sarah" userId="63e3ce5a-fcc6-474a-b3de-375720223e75" providerId="ADAL" clId="{D0183198-7876-4C7A-B1BE-BCAB6AE57610}" dt="2023-09-05T16:31:54.643" v="16237"/>
          <ac:graphicFrameMkLst>
            <pc:docMk/>
            <pc:sldMk cId="2136892941" sldId="299"/>
            <ac:graphicFrameMk id="282" creationId="{4724018C-2497-147E-240F-FC55B1A67642}"/>
          </ac:graphicFrameMkLst>
        </pc:graphicFrameChg>
        <pc:graphicFrameChg chg="add del mod ord replST">
          <ac:chgData name="Guinn, Sarah" userId="63e3ce5a-fcc6-474a-b3de-375720223e75" providerId="ADAL" clId="{D0183198-7876-4C7A-B1BE-BCAB6AE57610}" dt="2023-09-07T20:13:11.526" v="33767"/>
          <ac:graphicFrameMkLst>
            <pc:docMk/>
            <pc:sldMk cId="2136892941" sldId="299"/>
            <ac:graphicFrameMk id="282" creationId="{C18F8C8F-7361-E8CD-A0D6-888195492BEC}"/>
          </ac:graphicFrameMkLst>
        </pc:graphicFrameChg>
        <pc:graphicFrameChg chg="add del mod ord replST">
          <ac:chgData name="Guinn, Sarah" userId="63e3ce5a-fcc6-474a-b3de-375720223e75" providerId="ADAL" clId="{D0183198-7876-4C7A-B1BE-BCAB6AE57610}" dt="2023-09-07T20:13:15.176" v="33838"/>
          <ac:graphicFrameMkLst>
            <pc:docMk/>
            <pc:sldMk cId="2136892941" sldId="299"/>
            <ac:graphicFrameMk id="284" creationId="{A23C43CB-CF65-2579-5FE2-7149D0050A13}"/>
          </ac:graphicFrameMkLst>
        </pc:graphicFrameChg>
        <pc:graphicFrameChg chg="add del mod ord replST">
          <ac:chgData name="Guinn, Sarah" userId="63e3ce5a-fcc6-474a-b3de-375720223e75" providerId="ADAL" clId="{D0183198-7876-4C7A-B1BE-BCAB6AE57610}" dt="2023-09-07T20:13:58.779" v="33916"/>
          <ac:graphicFrameMkLst>
            <pc:docMk/>
            <pc:sldMk cId="2136892941" sldId="299"/>
            <ac:graphicFrameMk id="285" creationId="{2939A950-0454-CE10-EE00-E69970D08338}"/>
          </ac:graphicFrameMkLst>
        </pc:graphicFrameChg>
        <pc:graphicFrameChg chg="add del mod ord replST">
          <ac:chgData name="Guinn, Sarah" userId="63e3ce5a-fcc6-474a-b3de-375720223e75" providerId="ADAL" clId="{D0183198-7876-4C7A-B1BE-BCAB6AE57610}" dt="2023-09-05T16:38:46.461" v="18438"/>
          <ac:graphicFrameMkLst>
            <pc:docMk/>
            <pc:sldMk cId="2136892941" sldId="299"/>
            <ac:graphicFrameMk id="285" creationId="{BF1F5382-36D1-DDEE-CD3E-B37C6EF82502}"/>
          </ac:graphicFrameMkLst>
        </pc:graphicFrameChg>
        <pc:graphicFrameChg chg="add del mod ord replST">
          <ac:chgData name="Guinn, Sarah" userId="63e3ce5a-fcc6-474a-b3de-375720223e75" providerId="ADAL" clId="{D0183198-7876-4C7A-B1BE-BCAB6AE57610}" dt="2023-09-05T16:31:57.830" v="16332"/>
          <ac:graphicFrameMkLst>
            <pc:docMk/>
            <pc:sldMk cId="2136892941" sldId="299"/>
            <ac:graphicFrameMk id="287" creationId="{1CAA9C7A-51A5-83F1-B55F-0360763641AE}"/>
          </ac:graphicFrameMkLst>
        </pc:graphicFrameChg>
        <pc:graphicFrameChg chg="add del mod ord replST">
          <ac:chgData name="Guinn, Sarah" userId="63e3ce5a-fcc6-474a-b3de-375720223e75" providerId="ADAL" clId="{D0183198-7876-4C7A-B1BE-BCAB6AE57610}" dt="2023-09-07T20:14:02.847" v="33996"/>
          <ac:graphicFrameMkLst>
            <pc:docMk/>
            <pc:sldMk cId="2136892941" sldId="299"/>
            <ac:graphicFrameMk id="287" creationId="{8BFE9A62-677B-7FD0-45B3-0D7F004BEB25}"/>
          </ac:graphicFrameMkLst>
        </pc:graphicFrameChg>
        <pc:graphicFrameChg chg="add del mod ord replST">
          <ac:chgData name="Guinn, Sarah" userId="63e3ce5a-fcc6-474a-b3de-375720223e75" providerId="ADAL" clId="{D0183198-7876-4C7A-B1BE-BCAB6AE57610}" dt="2023-09-05T16:45:15.536" v="20289"/>
          <ac:graphicFrameMkLst>
            <pc:docMk/>
            <pc:sldMk cId="2136892941" sldId="299"/>
            <ac:graphicFrameMk id="290" creationId="{32C06AC1-52F2-3F2D-1CDB-E994717671EC}"/>
          </ac:graphicFrameMkLst>
        </pc:graphicFrameChg>
        <pc:graphicFrameChg chg="add del mod ord replST">
          <ac:chgData name="Guinn, Sarah" userId="63e3ce5a-fcc6-474a-b3de-375720223e75" providerId="ADAL" clId="{D0183198-7876-4C7A-B1BE-BCAB6AE57610}" dt="2023-09-05T16:45:17.120" v="20393"/>
          <ac:graphicFrameMkLst>
            <pc:docMk/>
            <pc:sldMk cId="2136892941" sldId="299"/>
            <ac:graphicFrameMk id="292" creationId="{C6D48FE1-FB9B-2946-6E8B-1764F0031824}"/>
          </ac:graphicFrameMkLst>
        </pc:graphicFrameChg>
        <pc:graphicFrameChg chg="add del mod ord replST">
          <ac:chgData name="Guinn, Sarah" userId="63e3ce5a-fcc6-474a-b3de-375720223e75" providerId="ADAL" clId="{D0183198-7876-4C7A-B1BE-BCAB6AE57610}" dt="2023-09-05T16:45:20.083" v="20493"/>
          <ac:graphicFrameMkLst>
            <pc:docMk/>
            <pc:sldMk cId="2136892941" sldId="299"/>
            <ac:graphicFrameMk id="294" creationId="{6A5A3579-3883-FC8A-905B-4D643E602F9F}"/>
          </ac:graphicFrameMkLst>
        </pc:graphicFrameChg>
        <pc:graphicFrameChg chg="add del mod ord replST">
          <ac:chgData name="Guinn, Sarah" userId="63e3ce5a-fcc6-474a-b3de-375720223e75" providerId="ADAL" clId="{D0183198-7876-4C7A-B1BE-BCAB6AE57610}" dt="2023-09-05T16:45:22.279" v="20638"/>
          <ac:graphicFrameMkLst>
            <pc:docMk/>
            <pc:sldMk cId="2136892941" sldId="299"/>
            <ac:graphicFrameMk id="296" creationId="{8DCA2A4A-F7EA-AF6F-8DB2-C34354621569}"/>
          </ac:graphicFrameMkLst>
        </pc:graphicFrameChg>
        <pc:graphicFrameChg chg="add del mod ord replST">
          <ac:chgData name="Guinn, Sarah" userId="63e3ce5a-fcc6-474a-b3de-375720223e75" providerId="ADAL" clId="{D0183198-7876-4C7A-B1BE-BCAB6AE57610}" dt="2023-09-05T16:45:26.887" v="20753"/>
          <ac:graphicFrameMkLst>
            <pc:docMk/>
            <pc:sldMk cId="2136892941" sldId="299"/>
            <ac:graphicFrameMk id="299" creationId="{4DB8322E-DB40-342E-2603-B35326CC8CD9}"/>
          </ac:graphicFrameMkLst>
        </pc:graphicFrameChg>
        <pc:graphicFrameChg chg="add del mod ord replST">
          <ac:chgData name="Guinn, Sarah" userId="63e3ce5a-fcc6-474a-b3de-375720223e75" providerId="ADAL" clId="{D0183198-7876-4C7A-B1BE-BCAB6AE57610}" dt="2023-09-05T16:45:28.802" v="20908"/>
          <ac:graphicFrameMkLst>
            <pc:docMk/>
            <pc:sldMk cId="2136892941" sldId="299"/>
            <ac:graphicFrameMk id="301" creationId="{31FE24A5-153C-D99D-CC05-93371C03DA7B}"/>
          </ac:graphicFrameMkLst>
        </pc:graphicFrameChg>
        <pc:graphicFrameChg chg="add del mod ord replST">
          <ac:chgData name="Guinn, Sarah" userId="63e3ce5a-fcc6-474a-b3de-375720223e75" providerId="ADAL" clId="{D0183198-7876-4C7A-B1BE-BCAB6AE57610}" dt="2023-09-05T16:45:29.779" v="21017"/>
          <ac:graphicFrameMkLst>
            <pc:docMk/>
            <pc:sldMk cId="2136892941" sldId="299"/>
            <ac:graphicFrameMk id="304" creationId="{D17EB91A-3380-C0AA-EEEF-DB3A4C8C40FB}"/>
          </ac:graphicFrameMkLst>
        </pc:graphicFrameChg>
        <pc:graphicFrameChg chg="add del mod ord replST">
          <ac:chgData name="Guinn, Sarah" userId="63e3ce5a-fcc6-474a-b3de-375720223e75" providerId="ADAL" clId="{D0183198-7876-4C7A-B1BE-BCAB6AE57610}" dt="2023-09-05T16:45:30.236" v="21164"/>
          <ac:graphicFrameMkLst>
            <pc:docMk/>
            <pc:sldMk cId="2136892941" sldId="299"/>
            <ac:graphicFrameMk id="306" creationId="{1832C4D5-0F57-9D66-836F-D709CD936663}"/>
          </ac:graphicFrameMkLst>
        </pc:graphicFrameChg>
        <pc:graphicFrameChg chg="add del mod ord replST">
          <ac:chgData name="Guinn, Sarah" userId="63e3ce5a-fcc6-474a-b3de-375720223e75" providerId="ADAL" clId="{D0183198-7876-4C7A-B1BE-BCAB6AE57610}" dt="2023-09-05T16:45:32.424" v="21281"/>
          <ac:graphicFrameMkLst>
            <pc:docMk/>
            <pc:sldMk cId="2136892941" sldId="299"/>
            <ac:graphicFrameMk id="309" creationId="{74A2BF03-4C15-BD1B-A62D-EE78B565A342}"/>
          </ac:graphicFrameMkLst>
        </pc:graphicFrameChg>
        <pc:graphicFrameChg chg="add del mod ord replST">
          <ac:chgData name="Guinn, Sarah" userId="63e3ce5a-fcc6-474a-b3de-375720223e75" providerId="ADAL" clId="{D0183198-7876-4C7A-B1BE-BCAB6AE57610}" dt="2023-09-05T16:45:33.972" v="21389"/>
          <ac:graphicFrameMkLst>
            <pc:docMk/>
            <pc:sldMk cId="2136892941" sldId="299"/>
            <ac:graphicFrameMk id="311" creationId="{675C4D89-42E8-417D-3093-DB211BFCC8B0}"/>
          </ac:graphicFrameMkLst>
        </pc:graphicFrameChg>
        <pc:graphicFrameChg chg="add del mod ord replST">
          <ac:chgData name="Guinn, Sarah" userId="63e3ce5a-fcc6-474a-b3de-375720223e75" providerId="ADAL" clId="{D0183198-7876-4C7A-B1BE-BCAB6AE57610}" dt="2023-09-05T16:47:04.356" v="26772"/>
          <ac:graphicFrameMkLst>
            <pc:docMk/>
            <pc:sldMk cId="2136892941" sldId="299"/>
            <ac:graphicFrameMk id="313" creationId="{EB58027E-532E-8480-637F-0678BFB448C6}"/>
          </ac:graphicFrameMkLst>
        </pc:graphicFrameChg>
        <pc:graphicFrameChg chg="add del mod ord replST">
          <ac:chgData name="Guinn, Sarah" userId="63e3ce5a-fcc6-474a-b3de-375720223e75" providerId="ADAL" clId="{D0183198-7876-4C7A-B1BE-BCAB6AE57610}" dt="2023-09-05T16:45:43.371" v="21647"/>
          <ac:graphicFrameMkLst>
            <pc:docMk/>
            <pc:sldMk cId="2136892941" sldId="299"/>
            <ac:graphicFrameMk id="316" creationId="{1992E1BA-4406-1EE6-EA0F-991B18FCCB4F}"/>
          </ac:graphicFrameMkLst>
        </pc:graphicFrameChg>
        <pc:graphicFrameChg chg="add del mod ord replST">
          <ac:chgData name="Guinn, Sarah" userId="63e3ce5a-fcc6-474a-b3de-375720223e75" providerId="ADAL" clId="{D0183198-7876-4C7A-B1BE-BCAB6AE57610}" dt="2023-09-05T16:45:45.378" v="21801"/>
          <ac:graphicFrameMkLst>
            <pc:docMk/>
            <pc:sldMk cId="2136892941" sldId="299"/>
            <ac:graphicFrameMk id="318" creationId="{0BD372F7-E573-338C-ED99-6C7E359F9A0C}"/>
          </ac:graphicFrameMkLst>
        </pc:graphicFrameChg>
        <pc:graphicFrameChg chg="add del mod ord replST">
          <ac:chgData name="Guinn, Sarah" userId="63e3ce5a-fcc6-474a-b3de-375720223e75" providerId="ADAL" clId="{D0183198-7876-4C7A-B1BE-BCAB6AE57610}" dt="2023-09-05T16:45:49.022" v="21917"/>
          <ac:graphicFrameMkLst>
            <pc:docMk/>
            <pc:sldMk cId="2136892941" sldId="299"/>
            <ac:graphicFrameMk id="321" creationId="{CC758BD3-E52B-B293-FC0C-24155398E19F}"/>
          </ac:graphicFrameMkLst>
        </pc:graphicFrameChg>
        <pc:graphicFrameChg chg="add del mod ord replST">
          <ac:chgData name="Guinn, Sarah" userId="63e3ce5a-fcc6-474a-b3de-375720223e75" providerId="ADAL" clId="{D0183198-7876-4C7A-B1BE-BCAB6AE57610}" dt="2023-09-05T16:45:50.905" v="22073"/>
          <ac:graphicFrameMkLst>
            <pc:docMk/>
            <pc:sldMk cId="2136892941" sldId="299"/>
            <ac:graphicFrameMk id="323" creationId="{FC4162F5-FAE6-35EF-ECDD-DF18D0673DD0}"/>
          </ac:graphicFrameMkLst>
        </pc:graphicFrameChg>
        <pc:graphicFrameChg chg="add del mod ord replST">
          <ac:chgData name="Guinn, Sarah" userId="63e3ce5a-fcc6-474a-b3de-375720223e75" providerId="ADAL" clId="{D0183198-7876-4C7A-B1BE-BCAB6AE57610}" dt="2023-09-05T16:45:53.579" v="22191"/>
          <ac:graphicFrameMkLst>
            <pc:docMk/>
            <pc:sldMk cId="2136892941" sldId="299"/>
            <ac:graphicFrameMk id="326" creationId="{6966AF14-7409-CF3D-7192-B81E5D25E0BC}"/>
          </ac:graphicFrameMkLst>
        </pc:graphicFrameChg>
        <pc:graphicFrameChg chg="add del mod ord replST">
          <ac:chgData name="Guinn, Sarah" userId="63e3ce5a-fcc6-474a-b3de-375720223e75" providerId="ADAL" clId="{D0183198-7876-4C7A-B1BE-BCAB6AE57610}" dt="2023-09-05T16:45:54.927" v="22349"/>
          <ac:graphicFrameMkLst>
            <pc:docMk/>
            <pc:sldMk cId="2136892941" sldId="299"/>
            <ac:graphicFrameMk id="328" creationId="{9C5E1F8A-FD11-9CF1-DEBA-D49B75448ED7}"/>
          </ac:graphicFrameMkLst>
        </pc:graphicFrameChg>
        <pc:graphicFrameChg chg="add del mod ord replST">
          <ac:chgData name="Guinn, Sarah" userId="63e3ce5a-fcc6-474a-b3de-375720223e75" providerId="ADAL" clId="{D0183198-7876-4C7A-B1BE-BCAB6AE57610}" dt="2023-09-05T16:45:57.391" v="22469"/>
          <ac:graphicFrameMkLst>
            <pc:docMk/>
            <pc:sldMk cId="2136892941" sldId="299"/>
            <ac:graphicFrameMk id="331" creationId="{047B4032-34B1-D210-7326-B7676D152F43}"/>
          </ac:graphicFrameMkLst>
        </pc:graphicFrameChg>
        <pc:graphicFrameChg chg="add del mod ord replST">
          <ac:chgData name="Guinn, Sarah" userId="63e3ce5a-fcc6-474a-b3de-375720223e75" providerId="ADAL" clId="{D0183198-7876-4C7A-B1BE-BCAB6AE57610}" dt="2023-09-05T16:45:59.056" v="22629"/>
          <ac:graphicFrameMkLst>
            <pc:docMk/>
            <pc:sldMk cId="2136892941" sldId="299"/>
            <ac:graphicFrameMk id="333" creationId="{4DB9E271-5776-4F06-EC9C-0CDBA66BAD38}"/>
          </ac:graphicFrameMkLst>
        </pc:graphicFrameChg>
        <pc:graphicFrameChg chg="add del mod ord replST">
          <ac:chgData name="Guinn, Sarah" userId="63e3ce5a-fcc6-474a-b3de-375720223e75" providerId="ADAL" clId="{D0183198-7876-4C7A-B1BE-BCAB6AE57610}" dt="2023-09-05T16:46:01.584" v="22751"/>
          <ac:graphicFrameMkLst>
            <pc:docMk/>
            <pc:sldMk cId="2136892941" sldId="299"/>
            <ac:graphicFrameMk id="336" creationId="{FDCF9C7B-4FFA-1991-9066-B636CE150376}"/>
          </ac:graphicFrameMkLst>
        </pc:graphicFrameChg>
        <pc:graphicFrameChg chg="add del mod ord replST">
          <ac:chgData name="Guinn, Sarah" userId="63e3ce5a-fcc6-474a-b3de-375720223e75" providerId="ADAL" clId="{D0183198-7876-4C7A-B1BE-BCAB6AE57610}" dt="2023-09-05T16:46:03.214" v="22864"/>
          <ac:graphicFrameMkLst>
            <pc:docMk/>
            <pc:sldMk cId="2136892941" sldId="299"/>
            <ac:graphicFrameMk id="338" creationId="{AA8D58A6-22AE-A710-3520-49668EDF6755}"/>
          </ac:graphicFrameMkLst>
        </pc:graphicFrameChg>
        <pc:graphicFrameChg chg="add del mod ord replST">
          <ac:chgData name="Guinn, Sarah" userId="63e3ce5a-fcc6-474a-b3de-375720223e75" providerId="ADAL" clId="{D0183198-7876-4C7A-B1BE-BCAB6AE57610}" dt="2023-09-05T16:46:58.434" v="26616"/>
          <ac:graphicFrameMkLst>
            <pc:docMk/>
            <pc:sldMk cId="2136892941" sldId="299"/>
            <ac:graphicFrameMk id="340" creationId="{0FF14677-FC86-543F-26AA-6BE3001F4D11}"/>
          </ac:graphicFrameMkLst>
        </pc:graphicFrameChg>
        <pc:graphicFrameChg chg="add del mod ord replST">
          <ac:chgData name="Guinn, Sarah" userId="63e3ce5a-fcc6-474a-b3de-375720223e75" providerId="ADAL" clId="{D0183198-7876-4C7A-B1BE-BCAB6AE57610}" dt="2023-09-05T16:46:04.292" v="23036"/>
          <ac:graphicFrameMkLst>
            <pc:docMk/>
            <pc:sldMk cId="2136892941" sldId="299"/>
            <ac:graphicFrameMk id="342" creationId="{2F941DA5-6C20-4DD2-E690-510BC8347597}"/>
          </ac:graphicFrameMkLst>
        </pc:graphicFrameChg>
        <pc:graphicFrameChg chg="add del mod ord replST">
          <ac:chgData name="Guinn, Sarah" userId="63e3ce5a-fcc6-474a-b3de-375720223e75" providerId="ADAL" clId="{D0183198-7876-4C7A-B1BE-BCAB6AE57610}" dt="2023-09-05T16:46:05.473" v="23138"/>
          <ac:graphicFrameMkLst>
            <pc:docMk/>
            <pc:sldMk cId="2136892941" sldId="299"/>
            <ac:graphicFrameMk id="344" creationId="{C1B73706-A632-F5AF-A7D9-F0159B08868C}"/>
          </ac:graphicFrameMkLst>
        </pc:graphicFrameChg>
        <pc:graphicFrameChg chg="add del mod ord replST">
          <ac:chgData name="Guinn, Sarah" userId="63e3ce5a-fcc6-474a-b3de-375720223e75" providerId="ADAL" clId="{D0183198-7876-4C7A-B1BE-BCAB6AE57610}" dt="2023-09-05T16:46:06.235" v="23241"/>
          <ac:graphicFrameMkLst>
            <pc:docMk/>
            <pc:sldMk cId="2136892941" sldId="299"/>
            <ac:graphicFrameMk id="346" creationId="{36FF6E36-1F7D-9EBD-044B-798ABD019DEE}"/>
          </ac:graphicFrameMkLst>
        </pc:graphicFrameChg>
        <pc:graphicFrameChg chg="add del mod ord replST">
          <ac:chgData name="Guinn, Sarah" userId="63e3ce5a-fcc6-474a-b3de-375720223e75" providerId="ADAL" clId="{D0183198-7876-4C7A-B1BE-BCAB6AE57610}" dt="2023-09-05T16:46:07.406" v="23390"/>
          <ac:graphicFrameMkLst>
            <pc:docMk/>
            <pc:sldMk cId="2136892941" sldId="299"/>
            <ac:graphicFrameMk id="348" creationId="{B460C922-2665-02A3-EE32-2F00EE15415F}"/>
          </ac:graphicFrameMkLst>
        </pc:graphicFrameChg>
        <pc:graphicFrameChg chg="add del mod ord replST">
          <ac:chgData name="Guinn, Sarah" userId="63e3ce5a-fcc6-474a-b3de-375720223e75" providerId="ADAL" clId="{D0183198-7876-4C7A-B1BE-BCAB6AE57610}" dt="2023-09-05T16:46:09.511" v="23509"/>
          <ac:graphicFrameMkLst>
            <pc:docMk/>
            <pc:sldMk cId="2136892941" sldId="299"/>
            <ac:graphicFrameMk id="351" creationId="{5C594A9E-92FA-F8B9-B72F-47642901B960}"/>
          </ac:graphicFrameMkLst>
        </pc:graphicFrameChg>
        <pc:graphicFrameChg chg="add del mod ord replST">
          <ac:chgData name="Guinn, Sarah" userId="63e3ce5a-fcc6-474a-b3de-375720223e75" providerId="ADAL" clId="{D0183198-7876-4C7A-B1BE-BCAB6AE57610}" dt="2023-09-05T16:46:11.182" v="23668"/>
          <ac:graphicFrameMkLst>
            <pc:docMk/>
            <pc:sldMk cId="2136892941" sldId="299"/>
            <ac:graphicFrameMk id="353" creationId="{BEEEB9C9-1AB3-53E2-D8CB-A31194986FF9}"/>
          </ac:graphicFrameMkLst>
        </pc:graphicFrameChg>
        <pc:graphicFrameChg chg="add del mod ord replST">
          <ac:chgData name="Guinn, Sarah" userId="63e3ce5a-fcc6-474a-b3de-375720223e75" providerId="ADAL" clId="{D0183198-7876-4C7A-B1BE-BCAB6AE57610}" dt="2023-09-05T16:46:13.421" v="23789"/>
          <ac:graphicFrameMkLst>
            <pc:docMk/>
            <pc:sldMk cId="2136892941" sldId="299"/>
            <ac:graphicFrameMk id="356" creationId="{98C1DFB3-550F-9CED-9FB0-598DC9DC3FEB}"/>
          </ac:graphicFrameMkLst>
        </pc:graphicFrameChg>
        <pc:graphicFrameChg chg="add del mod ord replST">
          <ac:chgData name="Guinn, Sarah" userId="63e3ce5a-fcc6-474a-b3de-375720223e75" providerId="ADAL" clId="{D0183198-7876-4C7A-B1BE-BCAB6AE57610}" dt="2023-09-05T16:46:15.265" v="23950"/>
          <ac:graphicFrameMkLst>
            <pc:docMk/>
            <pc:sldMk cId="2136892941" sldId="299"/>
            <ac:graphicFrameMk id="358" creationId="{007C0DD3-62EB-F33A-8B48-2E8D6224970F}"/>
          </ac:graphicFrameMkLst>
        </pc:graphicFrameChg>
        <pc:graphicFrameChg chg="add del mod ord replST">
          <ac:chgData name="Guinn, Sarah" userId="63e3ce5a-fcc6-474a-b3de-375720223e75" providerId="ADAL" clId="{D0183198-7876-4C7A-B1BE-BCAB6AE57610}" dt="2023-09-05T16:46:16.268" v="24065"/>
          <ac:graphicFrameMkLst>
            <pc:docMk/>
            <pc:sldMk cId="2136892941" sldId="299"/>
            <ac:graphicFrameMk id="361" creationId="{4980C761-89DA-731E-7A1F-BDF7669E1D37}"/>
          </ac:graphicFrameMkLst>
        </pc:graphicFrameChg>
        <pc:graphicFrameChg chg="add del mod ord replST">
          <ac:chgData name="Guinn, Sarah" userId="63e3ce5a-fcc6-474a-b3de-375720223e75" providerId="ADAL" clId="{D0183198-7876-4C7A-B1BE-BCAB6AE57610}" dt="2023-09-05T16:46:17.542" v="24218"/>
          <ac:graphicFrameMkLst>
            <pc:docMk/>
            <pc:sldMk cId="2136892941" sldId="299"/>
            <ac:graphicFrameMk id="363" creationId="{91E98D18-2843-8092-0EAF-17B690703EF3}"/>
          </ac:graphicFrameMkLst>
        </pc:graphicFrameChg>
        <pc:graphicFrameChg chg="add del mod ord replST">
          <ac:chgData name="Guinn, Sarah" userId="63e3ce5a-fcc6-474a-b3de-375720223e75" providerId="ADAL" clId="{D0183198-7876-4C7A-B1BE-BCAB6AE57610}" dt="2023-09-05T16:46:18.346" v="24335"/>
          <ac:graphicFrameMkLst>
            <pc:docMk/>
            <pc:sldMk cId="2136892941" sldId="299"/>
            <ac:graphicFrameMk id="366" creationId="{917EF517-1DA1-9A5C-8C6E-A52A72B0263B}"/>
          </ac:graphicFrameMkLst>
        </pc:graphicFrameChg>
        <pc:graphicFrameChg chg="add del mod ord replST">
          <ac:chgData name="Guinn, Sarah" userId="63e3ce5a-fcc6-474a-b3de-375720223e75" providerId="ADAL" clId="{D0183198-7876-4C7A-B1BE-BCAB6AE57610}" dt="2023-09-05T16:46:24.308" v="24441"/>
          <ac:graphicFrameMkLst>
            <pc:docMk/>
            <pc:sldMk cId="2136892941" sldId="299"/>
            <ac:graphicFrameMk id="368" creationId="{9D125692-6851-8356-8DC8-849EFD783789}"/>
          </ac:graphicFrameMkLst>
        </pc:graphicFrameChg>
        <pc:graphicFrameChg chg="add del mod ord replST">
          <ac:chgData name="Guinn, Sarah" userId="63e3ce5a-fcc6-474a-b3de-375720223e75" providerId="ADAL" clId="{D0183198-7876-4C7A-B1BE-BCAB6AE57610}" dt="2023-09-05T16:46:26.466" v="24551"/>
          <ac:graphicFrameMkLst>
            <pc:docMk/>
            <pc:sldMk cId="2136892941" sldId="299"/>
            <ac:graphicFrameMk id="370" creationId="{E06BFBA4-4978-7151-0CAD-63D56D4354CE}"/>
          </ac:graphicFrameMkLst>
        </pc:graphicFrameChg>
        <pc:graphicFrameChg chg="add del mod ord replST">
          <ac:chgData name="Guinn, Sarah" userId="63e3ce5a-fcc6-474a-b3de-375720223e75" providerId="ADAL" clId="{D0183198-7876-4C7A-B1BE-BCAB6AE57610}" dt="2023-09-05T16:46:28.249" v="24706"/>
          <ac:graphicFrameMkLst>
            <pc:docMk/>
            <pc:sldMk cId="2136892941" sldId="299"/>
            <ac:graphicFrameMk id="372" creationId="{F84FCE03-B35A-B4B9-C210-CAC0FE788D6A}"/>
          </ac:graphicFrameMkLst>
        </pc:graphicFrameChg>
        <pc:graphicFrameChg chg="add del mod ord replST">
          <ac:chgData name="Guinn, Sarah" userId="63e3ce5a-fcc6-474a-b3de-375720223e75" providerId="ADAL" clId="{D0183198-7876-4C7A-B1BE-BCAB6AE57610}" dt="2023-09-05T16:46:29.258" v="24823"/>
          <ac:graphicFrameMkLst>
            <pc:docMk/>
            <pc:sldMk cId="2136892941" sldId="299"/>
            <ac:graphicFrameMk id="375" creationId="{A4B7B458-1CAE-61EF-DEB7-A8DBA187FE1F}"/>
          </ac:graphicFrameMkLst>
        </pc:graphicFrameChg>
        <pc:graphicFrameChg chg="add del mod ord replST">
          <ac:chgData name="Guinn, Sarah" userId="63e3ce5a-fcc6-474a-b3de-375720223e75" providerId="ADAL" clId="{D0183198-7876-4C7A-B1BE-BCAB6AE57610}" dt="2023-09-05T16:46:30.661" v="24978"/>
          <ac:graphicFrameMkLst>
            <pc:docMk/>
            <pc:sldMk cId="2136892941" sldId="299"/>
            <ac:graphicFrameMk id="377" creationId="{EDE8DD49-DEFF-3BCC-399A-3F968A9D906E}"/>
          </ac:graphicFrameMkLst>
        </pc:graphicFrameChg>
        <pc:graphicFrameChg chg="add del mod ord replST">
          <ac:chgData name="Guinn, Sarah" userId="63e3ce5a-fcc6-474a-b3de-375720223e75" providerId="ADAL" clId="{D0183198-7876-4C7A-B1BE-BCAB6AE57610}" dt="2023-09-05T16:46:31.188" v="25094"/>
          <ac:graphicFrameMkLst>
            <pc:docMk/>
            <pc:sldMk cId="2136892941" sldId="299"/>
            <ac:graphicFrameMk id="380" creationId="{160CCA4A-E35A-74E4-2112-F8A34EE67106}"/>
          </ac:graphicFrameMkLst>
        </pc:graphicFrameChg>
        <pc:graphicFrameChg chg="add del mod ord replST">
          <ac:chgData name="Guinn, Sarah" userId="63e3ce5a-fcc6-474a-b3de-375720223e75" providerId="ADAL" clId="{D0183198-7876-4C7A-B1BE-BCAB6AE57610}" dt="2023-09-05T16:46:34.176" v="25211"/>
          <ac:graphicFrameMkLst>
            <pc:docMk/>
            <pc:sldMk cId="2136892941" sldId="299"/>
            <ac:graphicFrameMk id="382" creationId="{F3DCA706-A4A5-A34B-8893-8EDE3CB91431}"/>
          </ac:graphicFrameMkLst>
        </pc:graphicFrameChg>
        <pc:graphicFrameChg chg="add del mod ord replST">
          <ac:chgData name="Guinn, Sarah" userId="63e3ce5a-fcc6-474a-b3de-375720223e75" providerId="ADAL" clId="{D0183198-7876-4C7A-B1BE-BCAB6AE57610}" dt="2023-09-05T16:46:35.533" v="25376"/>
          <ac:graphicFrameMkLst>
            <pc:docMk/>
            <pc:sldMk cId="2136892941" sldId="299"/>
            <ac:graphicFrameMk id="384" creationId="{CA9582DB-5988-6007-4DB6-0EBEC16F55E8}"/>
          </ac:graphicFrameMkLst>
        </pc:graphicFrameChg>
        <pc:graphicFrameChg chg="add del mod ord replST">
          <ac:chgData name="Guinn, Sarah" userId="63e3ce5a-fcc6-474a-b3de-375720223e75" providerId="ADAL" clId="{D0183198-7876-4C7A-B1BE-BCAB6AE57610}" dt="2023-09-05T16:46:36.810" v="25497"/>
          <ac:graphicFrameMkLst>
            <pc:docMk/>
            <pc:sldMk cId="2136892941" sldId="299"/>
            <ac:graphicFrameMk id="387" creationId="{753A00EE-8F7F-8D1E-FC7D-27FD374DA4FD}"/>
          </ac:graphicFrameMkLst>
        </pc:graphicFrameChg>
        <pc:graphicFrameChg chg="add del mod ord replST">
          <ac:chgData name="Guinn, Sarah" userId="63e3ce5a-fcc6-474a-b3de-375720223e75" providerId="ADAL" clId="{D0183198-7876-4C7A-B1BE-BCAB6AE57610}" dt="2023-09-05T16:46:38.753" v="25612"/>
          <ac:graphicFrameMkLst>
            <pc:docMk/>
            <pc:sldMk cId="2136892941" sldId="299"/>
            <ac:graphicFrameMk id="389" creationId="{01444829-B368-DE0B-5B91-55760D062D4C}"/>
          </ac:graphicFrameMkLst>
        </pc:graphicFrameChg>
        <pc:graphicFrameChg chg="add del mod ord replST">
          <ac:chgData name="Guinn, Sarah" userId="63e3ce5a-fcc6-474a-b3de-375720223e75" providerId="ADAL" clId="{D0183198-7876-4C7A-B1BE-BCAB6AE57610}" dt="2023-09-05T16:46:41.680" v="26131"/>
          <ac:graphicFrameMkLst>
            <pc:docMk/>
            <pc:sldMk cId="2136892941" sldId="299"/>
            <ac:graphicFrameMk id="391" creationId="{0883B2D6-BA49-669B-F244-0B46E2C0B5F6}"/>
          </ac:graphicFrameMkLst>
        </pc:graphicFrameChg>
        <pc:graphicFrameChg chg="add del mod ord replST">
          <ac:chgData name="Guinn, Sarah" userId="63e3ce5a-fcc6-474a-b3de-375720223e75" providerId="ADAL" clId="{D0183198-7876-4C7A-B1BE-BCAB6AE57610}" dt="2023-09-05T16:46:44.742" v="26259"/>
          <ac:graphicFrameMkLst>
            <pc:docMk/>
            <pc:sldMk cId="2136892941" sldId="299"/>
            <ac:graphicFrameMk id="402" creationId="{E9DAD342-2330-E1AC-D885-350293DE2FD4}"/>
          </ac:graphicFrameMkLst>
        </pc:graphicFrameChg>
        <pc:graphicFrameChg chg="add del mod ord replST">
          <ac:chgData name="Guinn, Sarah" userId="63e3ce5a-fcc6-474a-b3de-375720223e75" providerId="ADAL" clId="{D0183198-7876-4C7A-B1BE-BCAB6AE57610}" dt="2023-09-05T16:46:47.153" v="26396"/>
          <ac:graphicFrameMkLst>
            <pc:docMk/>
            <pc:sldMk cId="2136892941" sldId="299"/>
            <ac:graphicFrameMk id="404" creationId="{60111279-4CEE-3E6E-94A2-371684E66BF3}"/>
          </ac:graphicFrameMkLst>
        </pc:graphicFrameChg>
        <pc:graphicFrameChg chg="add del mod ord replST">
          <ac:chgData name="Guinn, Sarah" userId="63e3ce5a-fcc6-474a-b3de-375720223e75" providerId="ADAL" clId="{D0183198-7876-4C7A-B1BE-BCAB6AE57610}" dt="2023-09-05T16:46:54.222" v="26506"/>
          <ac:graphicFrameMkLst>
            <pc:docMk/>
            <pc:sldMk cId="2136892941" sldId="299"/>
            <ac:graphicFrameMk id="406" creationId="{0FC079E6-A64E-47E3-F3CB-875099BE69D5}"/>
          </ac:graphicFrameMkLst>
        </pc:graphicFrameChg>
        <pc:graphicFrameChg chg="add del mod ord replST">
          <ac:chgData name="Guinn, Sarah" userId="63e3ce5a-fcc6-474a-b3de-375720223e75" providerId="ADAL" clId="{D0183198-7876-4C7A-B1BE-BCAB6AE57610}" dt="2023-09-07T20:10:14.091" v="32531"/>
          <ac:graphicFrameMkLst>
            <pc:docMk/>
            <pc:sldMk cId="2136892941" sldId="299"/>
            <ac:graphicFrameMk id="408" creationId="{28A05117-F4C6-847D-0666-F36F2BBBD0F6}"/>
          </ac:graphicFrameMkLst>
        </pc:graphicFrameChg>
        <pc:graphicFrameChg chg="add del mod ord replST">
          <ac:chgData name="Guinn, Sarah" userId="63e3ce5a-fcc6-474a-b3de-375720223e75" providerId="ADAL" clId="{D0183198-7876-4C7A-B1BE-BCAB6AE57610}" dt="2023-09-07T20:10:12.112" v="32514"/>
          <ac:graphicFrameMkLst>
            <pc:docMk/>
            <pc:sldMk cId="2136892941" sldId="299"/>
            <ac:graphicFrameMk id="410" creationId="{EDD0D2B1-41EF-9743-35B4-C8915E5177CB}"/>
          </ac:graphicFrameMkLst>
        </pc:graphicFrameChg>
        <pc:graphicFrameChg chg="add del mod ord replST">
          <ac:chgData name="Guinn, Sarah" userId="63e3ce5a-fcc6-474a-b3de-375720223e75" providerId="ADAL" clId="{D0183198-7876-4C7A-B1BE-BCAB6AE57610}" dt="2023-09-05T16:47:08.578" v="26898"/>
          <ac:graphicFrameMkLst>
            <pc:docMk/>
            <pc:sldMk cId="2136892941" sldId="299"/>
            <ac:graphicFrameMk id="413" creationId="{682EB9B0-7152-50C8-675F-B50B16B8BDBF}"/>
          </ac:graphicFrameMkLst>
        </pc:graphicFrameChg>
        <pc:graphicFrameChg chg="add del mod ord replST">
          <ac:chgData name="Guinn, Sarah" userId="63e3ce5a-fcc6-474a-b3de-375720223e75" providerId="ADAL" clId="{D0183198-7876-4C7A-B1BE-BCAB6AE57610}" dt="2023-09-05T16:47:23.883" v="27029"/>
          <ac:graphicFrameMkLst>
            <pc:docMk/>
            <pc:sldMk cId="2136892941" sldId="299"/>
            <ac:graphicFrameMk id="415" creationId="{D4E97754-3659-421E-8CA7-80F25474F58E}"/>
          </ac:graphicFrameMkLst>
        </pc:graphicFrameChg>
        <pc:graphicFrameChg chg="add del mod ord replST">
          <ac:chgData name="Guinn, Sarah" userId="63e3ce5a-fcc6-474a-b3de-375720223e75" providerId="ADAL" clId="{D0183198-7876-4C7A-B1BE-BCAB6AE57610}" dt="2023-09-05T16:47:26.969" v="27156"/>
          <ac:graphicFrameMkLst>
            <pc:docMk/>
            <pc:sldMk cId="2136892941" sldId="299"/>
            <ac:graphicFrameMk id="417" creationId="{75F10A02-1A60-E59F-37F1-15FD98B7526E}"/>
          </ac:graphicFrameMkLst>
        </pc:graphicFrameChg>
        <pc:graphicFrameChg chg="add del mod ord replST">
          <ac:chgData name="Guinn, Sarah" userId="63e3ce5a-fcc6-474a-b3de-375720223e75" providerId="ADAL" clId="{D0183198-7876-4C7A-B1BE-BCAB6AE57610}" dt="2023-09-05T16:47:27.673" v="27269"/>
          <ac:graphicFrameMkLst>
            <pc:docMk/>
            <pc:sldMk cId="2136892941" sldId="299"/>
            <ac:graphicFrameMk id="419" creationId="{67338A96-B11A-D11F-BDD5-74FF9C04A7C8}"/>
          </ac:graphicFrameMkLst>
        </pc:graphicFrameChg>
        <pc:graphicFrameChg chg="add del mod ord replST">
          <ac:chgData name="Guinn, Sarah" userId="63e3ce5a-fcc6-474a-b3de-375720223e75" providerId="ADAL" clId="{D0183198-7876-4C7A-B1BE-BCAB6AE57610}" dt="2023-09-05T16:47:28.443" v="27385"/>
          <ac:graphicFrameMkLst>
            <pc:docMk/>
            <pc:sldMk cId="2136892941" sldId="299"/>
            <ac:graphicFrameMk id="421" creationId="{D2ED31C9-490E-7DE1-0AE9-5EFD7F698E7C}"/>
          </ac:graphicFrameMkLst>
        </pc:graphicFrameChg>
        <pc:graphicFrameChg chg="add del mod ord replST">
          <ac:chgData name="Guinn, Sarah" userId="63e3ce5a-fcc6-474a-b3de-375720223e75" providerId="ADAL" clId="{D0183198-7876-4C7A-B1BE-BCAB6AE57610}" dt="2023-09-05T16:47:48.288" v="27503"/>
          <ac:graphicFrameMkLst>
            <pc:docMk/>
            <pc:sldMk cId="2136892941" sldId="299"/>
            <ac:graphicFrameMk id="423" creationId="{A759BAC4-377C-1F26-18BC-D66C18542879}"/>
          </ac:graphicFrameMkLst>
        </pc:graphicFrameChg>
        <pc:graphicFrameChg chg="add del mod ord replST">
          <ac:chgData name="Guinn, Sarah" userId="63e3ce5a-fcc6-474a-b3de-375720223e75" providerId="ADAL" clId="{D0183198-7876-4C7A-B1BE-BCAB6AE57610}" dt="2023-09-05T16:47:51.675" v="27621"/>
          <ac:graphicFrameMkLst>
            <pc:docMk/>
            <pc:sldMk cId="2136892941" sldId="299"/>
            <ac:graphicFrameMk id="425" creationId="{6C6D2ADC-23D4-0EA2-DEFF-F64E26BB0B0B}"/>
          </ac:graphicFrameMkLst>
        </pc:graphicFrameChg>
        <pc:graphicFrameChg chg="add del mod ord replST">
          <ac:chgData name="Guinn, Sarah" userId="63e3ce5a-fcc6-474a-b3de-375720223e75" providerId="ADAL" clId="{D0183198-7876-4C7A-B1BE-BCAB6AE57610}" dt="2023-09-05T16:48:12.238" v="28012"/>
          <ac:graphicFrameMkLst>
            <pc:docMk/>
            <pc:sldMk cId="2136892941" sldId="299"/>
            <ac:graphicFrameMk id="427" creationId="{0718E263-DC62-A019-2500-671BC40960A5}"/>
          </ac:graphicFrameMkLst>
        </pc:graphicFrameChg>
        <pc:graphicFrameChg chg="add mod ord replST delST">
          <ac:chgData name="Guinn, Sarah" userId="63e3ce5a-fcc6-474a-b3de-375720223e75" providerId="ADAL" clId="{D0183198-7876-4C7A-B1BE-BCAB6AE57610}" dt="2023-09-05T16:48:04.560" v="27892"/>
          <ac:graphicFrameMkLst>
            <pc:docMk/>
            <pc:sldMk cId="2136892941" sldId="299"/>
            <ac:graphicFrameMk id="429" creationId="{40C6396E-6CE2-3E9B-4A7C-4816268292C5}"/>
          </ac:graphicFrameMkLst>
        </pc:graphicFrameChg>
        <pc:graphicFrameChg chg="add del mod ord replST">
          <ac:chgData name="Guinn, Sarah" userId="63e3ce5a-fcc6-474a-b3de-375720223e75" providerId="ADAL" clId="{D0183198-7876-4C7A-B1BE-BCAB6AE57610}" dt="2023-09-05T16:48:16.320" v="28129"/>
          <ac:graphicFrameMkLst>
            <pc:docMk/>
            <pc:sldMk cId="2136892941" sldId="299"/>
            <ac:graphicFrameMk id="431" creationId="{28FE60B9-B395-EDEC-79EA-F32DEE9903E2}"/>
          </ac:graphicFrameMkLst>
        </pc:graphicFrameChg>
        <pc:graphicFrameChg chg="add del mod ord replST">
          <ac:chgData name="Guinn, Sarah" userId="63e3ce5a-fcc6-474a-b3de-375720223e75" providerId="ADAL" clId="{D0183198-7876-4C7A-B1BE-BCAB6AE57610}" dt="2023-09-05T16:49:15.678" v="28244"/>
          <ac:graphicFrameMkLst>
            <pc:docMk/>
            <pc:sldMk cId="2136892941" sldId="299"/>
            <ac:graphicFrameMk id="433" creationId="{1A4A92CE-8968-11B6-FC4A-11947421287B}"/>
          </ac:graphicFrameMkLst>
        </pc:graphicFrameChg>
        <pc:graphicFrameChg chg="add del mod ord replST">
          <ac:chgData name="Guinn, Sarah" userId="63e3ce5a-fcc6-474a-b3de-375720223e75" providerId="ADAL" clId="{D0183198-7876-4C7A-B1BE-BCAB6AE57610}" dt="2023-09-05T16:49:18.233" v="28359"/>
          <ac:graphicFrameMkLst>
            <pc:docMk/>
            <pc:sldMk cId="2136892941" sldId="299"/>
            <ac:graphicFrameMk id="435" creationId="{96A2731A-758F-4094-A1C2-5C9AA6CC4B81}"/>
          </ac:graphicFrameMkLst>
        </pc:graphicFrameChg>
        <pc:graphicFrameChg chg="add del mod ord replST">
          <ac:chgData name="Guinn, Sarah" userId="63e3ce5a-fcc6-474a-b3de-375720223e75" providerId="ADAL" clId="{D0183198-7876-4C7A-B1BE-BCAB6AE57610}" dt="2023-09-05T21:06:58.074" v="28490"/>
          <ac:graphicFrameMkLst>
            <pc:docMk/>
            <pc:sldMk cId="2136892941" sldId="299"/>
            <ac:graphicFrameMk id="437" creationId="{E1A5EDC2-AA07-557D-974F-A6B4453458D6}"/>
          </ac:graphicFrameMkLst>
        </pc:graphicFrameChg>
        <pc:graphicFrameChg chg="add del mod ord replST">
          <ac:chgData name="Guinn, Sarah" userId="63e3ce5a-fcc6-474a-b3de-375720223e75" providerId="ADAL" clId="{D0183198-7876-4C7A-B1BE-BCAB6AE57610}" dt="2023-09-05T21:07:04.298" v="28633"/>
          <ac:graphicFrameMkLst>
            <pc:docMk/>
            <pc:sldMk cId="2136892941" sldId="299"/>
            <ac:graphicFrameMk id="439" creationId="{540EA0B2-94EA-DC44-C0CD-A3C66937B415}"/>
          </ac:graphicFrameMkLst>
        </pc:graphicFrameChg>
        <pc:graphicFrameChg chg="add del mod ord replST">
          <ac:chgData name="Guinn, Sarah" userId="63e3ce5a-fcc6-474a-b3de-375720223e75" providerId="ADAL" clId="{D0183198-7876-4C7A-B1BE-BCAB6AE57610}" dt="2023-09-07T20:11:20.836" v="32729"/>
          <ac:graphicFrameMkLst>
            <pc:docMk/>
            <pc:sldMk cId="2136892941" sldId="299"/>
            <ac:graphicFrameMk id="441" creationId="{21D332A9-51E3-7F06-0573-5D57C80741F9}"/>
          </ac:graphicFrameMkLst>
        </pc:graphicFrameChg>
        <pc:cxnChg chg="add del mod ord replST">
          <ac:chgData name="Guinn, Sarah" userId="63e3ce5a-fcc6-474a-b3de-375720223e75" providerId="ADAL" clId="{D0183198-7876-4C7A-B1BE-BCAB6AE57610}" dt="2023-09-07T20:08:58.218" v="30574"/>
          <ac:cxnSpMkLst>
            <pc:docMk/>
            <pc:sldMk cId="2136892941" sldId="299"/>
            <ac:cxnSpMk id="15" creationId="{97B1461E-7A10-7A80-86F4-D6868458F276}"/>
          </ac:cxnSpMkLst>
        </pc:cxnChg>
        <pc:cxnChg chg="add mod ord replST">
          <ac:chgData name="Guinn, Sarah" userId="63e3ce5a-fcc6-474a-b3de-375720223e75" providerId="ADAL" clId="{D0183198-7876-4C7A-B1BE-BCAB6AE57610}" dt="2023-09-07T20:30:09.072" v="35209"/>
          <ac:cxnSpMkLst>
            <pc:docMk/>
            <pc:sldMk cId="2136892941" sldId="299"/>
            <ac:cxnSpMk id="16" creationId="{D47B7B70-458F-AC48-6666-42987B0A107A}"/>
          </ac:cxnSpMkLst>
        </pc:cxnChg>
        <pc:cxnChg chg="add del mod ord replST">
          <ac:chgData name="Guinn, Sarah" userId="63e3ce5a-fcc6-474a-b3de-375720223e75" providerId="ADAL" clId="{D0183198-7876-4C7A-B1BE-BCAB6AE57610}" dt="2023-09-07T20:09:12.069" v="31380"/>
          <ac:cxnSpMkLst>
            <pc:docMk/>
            <pc:sldMk cId="2136892941" sldId="299"/>
            <ac:cxnSpMk id="231" creationId="{1BAB53AA-6A5A-C2ED-A3BD-FA0D0D3440D2}"/>
          </ac:cxnSpMkLst>
        </pc:cxnChg>
        <pc:cxnChg chg="add mod ord replST">
          <ac:chgData name="Guinn, Sarah" userId="63e3ce5a-fcc6-474a-b3de-375720223e75" providerId="ADAL" clId="{D0183198-7876-4C7A-B1BE-BCAB6AE57610}" dt="2023-09-07T20:30:09.073" v="35211"/>
          <ac:cxnSpMkLst>
            <pc:docMk/>
            <pc:sldMk cId="2136892941" sldId="299"/>
            <ac:cxnSpMk id="241" creationId="{86B51F30-2A2F-4861-497C-11B0190A7164}"/>
          </ac:cxnSpMkLst>
        </pc:cxnChg>
        <pc:cxnChg chg="add del mod ord replST">
          <ac:chgData name="Guinn, Sarah" userId="63e3ce5a-fcc6-474a-b3de-375720223e75" providerId="ADAL" clId="{D0183198-7876-4C7A-B1BE-BCAB6AE57610}" dt="2023-09-07T20:13:15.156" v="33822"/>
          <ac:cxnSpMkLst>
            <pc:docMk/>
            <pc:sldMk cId="2136892941" sldId="299"/>
            <ac:cxnSpMk id="245" creationId="{A1ED9219-D7B2-478F-6CCD-7759DDA1281E}"/>
          </ac:cxnSpMkLst>
        </pc:cxnChg>
        <pc:cxnChg chg="add mod ord replST">
          <ac:chgData name="Guinn, Sarah" userId="63e3ce5a-fcc6-474a-b3de-375720223e75" providerId="ADAL" clId="{D0183198-7876-4C7A-B1BE-BCAB6AE57610}" dt="2023-09-07T20:30:09.074" v="35215"/>
          <ac:cxnSpMkLst>
            <pc:docMk/>
            <pc:sldMk cId="2136892941" sldId="299"/>
            <ac:cxnSpMk id="248" creationId="{BB4A4AFD-0693-1ABE-76DB-D3C5119E49DA}"/>
          </ac:cxnSpMkLst>
        </pc:cxnChg>
        <pc:cxnChg chg="add del mod ord replST">
          <ac:chgData name="Guinn, Sarah" userId="63e3ce5a-fcc6-474a-b3de-375720223e75" providerId="ADAL" clId="{D0183198-7876-4C7A-B1BE-BCAB6AE57610}" dt="2023-09-07T20:09:58.847" v="32333"/>
          <ac:cxnSpMkLst>
            <pc:docMk/>
            <pc:sldMk cId="2136892941" sldId="299"/>
            <ac:cxnSpMk id="254" creationId="{E930ABEE-19FB-E947-F1BE-E0D2A190EF12}"/>
          </ac:cxnSpMkLst>
        </pc:cxnChg>
        <pc:cxnChg chg="add mod ord replST">
          <ac:chgData name="Guinn, Sarah" userId="63e3ce5a-fcc6-474a-b3de-375720223e75" providerId="ADAL" clId="{D0183198-7876-4C7A-B1BE-BCAB6AE57610}" dt="2023-09-07T20:30:09.073" v="35213"/>
          <ac:cxnSpMkLst>
            <pc:docMk/>
            <pc:sldMk cId="2136892941" sldId="299"/>
            <ac:cxnSpMk id="255" creationId="{AB48C4A7-1328-F1EC-9220-73A351E30351}"/>
          </ac:cxnSpMkLst>
        </pc:cxnChg>
        <pc:cxnChg chg="add del mod ord replST">
          <ac:chgData name="Guinn, Sarah" userId="63e3ce5a-fcc6-474a-b3de-375720223e75" providerId="ADAL" clId="{D0183198-7876-4C7A-B1BE-BCAB6AE57610}" dt="2023-09-07T20:09:58.851" v="32337"/>
          <ac:cxnSpMkLst>
            <pc:docMk/>
            <pc:sldMk cId="2136892941" sldId="299"/>
            <ac:cxnSpMk id="261" creationId="{15432B86-4E96-B3A8-57CA-8C0B7EFAC0E1}"/>
          </ac:cxnSpMkLst>
        </pc:cxnChg>
      </pc:sldChg>
    </pc:docChg>
  </pc:docChgLst>
  <pc:docChgLst>
    <pc:chgData name="Guinn, Sarah" userId="63e3ce5a-fcc6-474a-b3de-375720223e75" providerId="ADAL" clId="{7F46B15F-7C3A-495B-9DE8-2AD650A79A1F}"/>
    <pc:docChg chg="undo custSel delSld modSld replTag">
      <pc:chgData name="Guinn, Sarah" userId="63e3ce5a-fcc6-474a-b3de-375720223e75" providerId="ADAL" clId="{7F46B15F-7C3A-495B-9DE8-2AD650A79A1F}" dt="2023-10-10T16:51:50.408" v="5344" actId="2696"/>
      <pc:docMkLst>
        <pc:docMk/>
      </pc:docMkLst>
      <pc:sldChg chg="del">
        <pc:chgData name="Guinn, Sarah" userId="63e3ce5a-fcc6-474a-b3de-375720223e75" providerId="ADAL" clId="{7F46B15F-7C3A-495B-9DE8-2AD650A79A1F}" dt="2023-10-10T16:51:50.408" v="5344" actId="2696"/>
        <pc:sldMkLst>
          <pc:docMk/>
          <pc:sldMk cId="1813183265" sldId="297"/>
        </pc:sldMkLst>
      </pc:sldChg>
      <pc:sldChg chg="addSp delSp modSp mod">
        <pc:chgData name="Guinn, Sarah" userId="63e3ce5a-fcc6-474a-b3de-375720223e75" providerId="ADAL" clId="{7F46B15F-7C3A-495B-9DE8-2AD650A79A1F}" dt="2023-10-10T16:50:58.040" v="5343" actId="114"/>
        <pc:sldMkLst>
          <pc:docMk/>
          <pc:sldMk cId="2136892941" sldId="299"/>
        </pc:sldMkLst>
        <pc:spChg chg="mod ord">
          <ac:chgData name="Guinn, Sarah" userId="63e3ce5a-fcc6-474a-b3de-375720223e75" providerId="ADAL" clId="{7F46B15F-7C3A-495B-9DE8-2AD650A79A1F}" dt="2023-10-10T16:45:59.646" v="5277"/>
          <ac:spMkLst>
            <pc:docMk/>
            <pc:sldMk cId="2136892941" sldId="299"/>
            <ac:spMk id="2" creationId="{D06490A8-2FAB-8E10-83A1-9BC5CF0A36C9}"/>
          </ac:spMkLst>
        </pc:spChg>
        <pc:spChg chg="mod">
          <ac:chgData name="Guinn, Sarah" userId="63e3ce5a-fcc6-474a-b3de-375720223e75" providerId="ADAL" clId="{7F46B15F-7C3A-495B-9DE8-2AD650A79A1F}" dt="2023-10-10T16:45:59.648" v="5283"/>
          <ac:spMkLst>
            <pc:docMk/>
            <pc:sldMk cId="2136892941" sldId="299"/>
            <ac:spMk id="4" creationId="{1399CF18-91B7-A1FF-87AD-1A4F333B2738}"/>
          </ac:spMkLst>
        </pc:spChg>
        <pc:spChg chg="mod">
          <ac:chgData name="Guinn, Sarah" userId="63e3ce5a-fcc6-474a-b3de-375720223e75" providerId="ADAL" clId="{7F46B15F-7C3A-495B-9DE8-2AD650A79A1F}" dt="2023-10-10T16:45:59.649" v="5284"/>
          <ac:spMkLst>
            <pc:docMk/>
            <pc:sldMk cId="2136892941" sldId="299"/>
            <ac:spMk id="5" creationId="{2D2AF873-4127-FA98-AE67-D22139E518CF}"/>
          </ac:spMkLst>
        </pc:spChg>
        <pc:spChg chg="del mod">
          <ac:chgData name="Guinn, Sarah" userId="63e3ce5a-fcc6-474a-b3de-375720223e75" providerId="ADAL" clId="{7F46B15F-7C3A-495B-9DE8-2AD650A79A1F}" dt="2023-10-10T16:43:53.143" v="443"/>
          <ac:spMkLst>
            <pc:docMk/>
            <pc:sldMk cId="2136892941" sldId="299"/>
            <ac:spMk id="7" creationId="{054DC44F-22CA-AA54-68F9-9AE836C8D4A2}"/>
          </ac:spMkLst>
        </pc:spChg>
        <pc:spChg chg="del mod">
          <ac:chgData name="Guinn, Sarah" userId="63e3ce5a-fcc6-474a-b3de-375720223e75" providerId="ADAL" clId="{7F46B15F-7C3A-495B-9DE8-2AD650A79A1F}" dt="2023-10-10T16:43:53.140" v="436"/>
          <ac:spMkLst>
            <pc:docMk/>
            <pc:sldMk cId="2136892941" sldId="299"/>
            <ac:spMk id="8" creationId="{49858FA8-1850-85FE-1E22-3C08A1F70757}"/>
          </ac:spMkLst>
        </pc:spChg>
        <pc:spChg chg="del mod">
          <ac:chgData name="Guinn, Sarah" userId="63e3ce5a-fcc6-474a-b3de-375720223e75" providerId="ADAL" clId="{7F46B15F-7C3A-495B-9DE8-2AD650A79A1F}" dt="2023-10-10T16:43:53.143" v="444"/>
          <ac:spMkLst>
            <pc:docMk/>
            <pc:sldMk cId="2136892941" sldId="299"/>
            <ac:spMk id="9" creationId="{E510342A-3FFB-1F46-FEBC-FF6FC3B79CCF}"/>
          </ac:spMkLst>
        </pc:spChg>
        <pc:spChg chg="mod ord">
          <ac:chgData name="Guinn, Sarah" userId="63e3ce5a-fcc6-474a-b3de-375720223e75" providerId="ADAL" clId="{7F46B15F-7C3A-495B-9DE8-2AD650A79A1F}" dt="2023-10-10T16:50:58.040" v="5343" actId="114"/>
          <ac:spMkLst>
            <pc:docMk/>
            <pc:sldMk cId="2136892941" sldId="299"/>
            <ac:spMk id="10" creationId="{5B6185C0-3E70-ADE0-92C1-76C2221CFA9A}"/>
          </ac:spMkLst>
        </pc:spChg>
        <pc:spChg chg="mod">
          <ac:chgData name="Guinn, Sarah" userId="63e3ce5a-fcc6-474a-b3de-375720223e75" providerId="ADAL" clId="{7F46B15F-7C3A-495B-9DE8-2AD650A79A1F}" dt="2023-10-10T16:45:59.649" v="5285"/>
          <ac:spMkLst>
            <pc:docMk/>
            <pc:sldMk cId="2136892941" sldId="299"/>
            <ac:spMk id="11" creationId="{229ADE3F-9842-8F24-CAEF-51A01C487860}"/>
          </ac:spMkLst>
        </pc:spChg>
        <pc:spChg chg="add mod replST">
          <ac:chgData name="Guinn, Sarah" userId="63e3ce5a-fcc6-474a-b3de-375720223e75" providerId="ADAL" clId="{7F46B15F-7C3A-495B-9DE8-2AD650A79A1F}" dt="2023-10-10T16:43:22.967" v="431"/>
          <ac:spMkLst>
            <pc:docMk/>
            <pc:sldMk cId="2136892941" sldId="299"/>
            <ac:spMk id="15" creationId="{453788D3-21B5-5464-4867-8B0CB6EE114D}"/>
          </ac:spMkLst>
        </pc:spChg>
        <pc:spChg chg="add mod replST">
          <ac:chgData name="Guinn, Sarah" userId="63e3ce5a-fcc6-474a-b3de-375720223e75" providerId="ADAL" clId="{7F46B15F-7C3A-495B-9DE8-2AD650A79A1F}" dt="2023-10-10T16:43:22.967" v="431"/>
          <ac:spMkLst>
            <pc:docMk/>
            <pc:sldMk cId="2136892941" sldId="299"/>
            <ac:spMk id="17" creationId="{CD067307-5C26-B0AA-680E-097C64B8E827}"/>
          </ac:spMkLst>
        </pc:spChg>
        <pc:spChg chg="add mod replST">
          <ac:chgData name="Guinn, Sarah" userId="63e3ce5a-fcc6-474a-b3de-375720223e75" providerId="ADAL" clId="{7F46B15F-7C3A-495B-9DE8-2AD650A79A1F}" dt="2023-10-10T16:43:22.967" v="431"/>
          <ac:spMkLst>
            <pc:docMk/>
            <pc:sldMk cId="2136892941" sldId="299"/>
            <ac:spMk id="18" creationId="{B57B2607-8AFB-0469-7ECA-FA66DA4A8989}"/>
          </ac:spMkLst>
        </pc:spChg>
        <pc:spChg chg="add mod replST">
          <ac:chgData name="Guinn, Sarah" userId="63e3ce5a-fcc6-474a-b3de-375720223e75" providerId="ADAL" clId="{7F46B15F-7C3A-495B-9DE8-2AD650A79A1F}" dt="2023-10-10T16:43:22.967" v="431"/>
          <ac:spMkLst>
            <pc:docMk/>
            <pc:sldMk cId="2136892941" sldId="299"/>
            <ac:spMk id="20" creationId="{3C5A1899-DA22-2A78-CA02-1899F7C1CBF1}"/>
          </ac:spMkLst>
        </pc:spChg>
        <pc:spChg chg="add mod replST">
          <ac:chgData name="Guinn, Sarah" userId="63e3ce5a-fcc6-474a-b3de-375720223e75" providerId="ADAL" clId="{7F46B15F-7C3A-495B-9DE8-2AD650A79A1F}" dt="2023-10-10T16:43:22.967" v="431"/>
          <ac:spMkLst>
            <pc:docMk/>
            <pc:sldMk cId="2136892941" sldId="299"/>
            <ac:spMk id="21" creationId="{A7A5E10E-03B7-D3AE-7B6A-3CE568981865}"/>
          </ac:spMkLst>
        </pc:spChg>
        <pc:spChg chg="add mod replST">
          <ac:chgData name="Guinn, Sarah" userId="63e3ce5a-fcc6-474a-b3de-375720223e75" providerId="ADAL" clId="{7F46B15F-7C3A-495B-9DE8-2AD650A79A1F}" dt="2023-10-10T16:43:22.967" v="431"/>
          <ac:spMkLst>
            <pc:docMk/>
            <pc:sldMk cId="2136892941" sldId="299"/>
            <ac:spMk id="22" creationId="{FA82E5AF-43B1-AA8A-1B5C-B6CE2300DDB1}"/>
          </ac:spMkLst>
        </pc:spChg>
        <pc:spChg chg="add mod replST">
          <ac:chgData name="Guinn, Sarah" userId="63e3ce5a-fcc6-474a-b3de-375720223e75" providerId="ADAL" clId="{7F46B15F-7C3A-495B-9DE8-2AD650A79A1F}" dt="2023-10-10T16:43:22.967" v="431"/>
          <ac:spMkLst>
            <pc:docMk/>
            <pc:sldMk cId="2136892941" sldId="299"/>
            <ac:spMk id="23" creationId="{ED6DB8C6-64A3-4476-9713-DA3BDEA01A7D}"/>
          </ac:spMkLst>
        </pc:spChg>
        <pc:spChg chg="add mod replST">
          <ac:chgData name="Guinn, Sarah" userId="63e3ce5a-fcc6-474a-b3de-375720223e75" providerId="ADAL" clId="{7F46B15F-7C3A-495B-9DE8-2AD650A79A1F}" dt="2023-10-10T16:43:22.967" v="431"/>
          <ac:spMkLst>
            <pc:docMk/>
            <pc:sldMk cId="2136892941" sldId="299"/>
            <ac:spMk id="24" creationId="{6DF9F14E-A009-83FE-6E46-FFC59CBC2092}"/>
          </ac:spMkLst>
        </pc:spChg>
        <pc:spChg chg="add del mod modVis">
          <ac:chgData name="Guinn, Sarah" userId="63e3ce5a-fcc6-474a-b3de-375720223e75" providerId="ADAL" clId="{7F46B15F-7C3A-495B-9DE8-2AD650A79A1F}" dt="2023-10-10T16:43:22.967" v="431"/>
          <ac:spMkLst>
            <pc:docMk/>
            <pc:sldMk cId="2136892941" sldId="299"/>
            <ac:spMk id="25" creationId="{A3A4A4D5-83C8-8E22-6E74-16A91D053216}"/>
          </ac:spMkLst>
        </pc:spChg>
        <pc:spChg chg="add del mod modVis">
          <ac:chgData name="Guinn, Sarah" userId="63e3ce5a-fcc6-474a-b3de-375720223e75" providerId="ADAL" clId="{7F46B15F-7C3A-495B-9DE8-2AD650A79A1F}" dt="2023-10-10T16:43:53.284" v="539"/>
          <ac:spMkLst>
            <pc:docMk/>
            <pc:sldMk cId="2136892941" sldId="299"/>
            <ac:spMk id="27" creationId="{CBFF3A15-EECE-AD71-75B1-E26731BF7D53}"/>
          </ac:spMkLst>
        </pc:spChg>
        <pc:spChg chg="add del mod modVis">
          <ac:chgData name="Guinn, Sarah" userId="63e3ce5a-fcc6-474a-b3de-375720223e75" providerId="ADAL" clId="{7F46B15F-7C3A-495B-9DE8-2AD650A79A1F}" dt="2023-10-10T16:44:29.447" v="650"/>
          <ac:spMkLst>
            <pc:docMk/>
            <pc:sldMk cId="2136892941" sldId="299"/>
            <ac:spMk id="29" creationId="{B3741F7A-82BC-9D9E-95F8-79447A0A64E3}"/>
          </ac:spMkLst>
        </pc:spChg>
        <pc:spChg chg="add del mod modVis">
          <ac:chgData name="Guinn, Sarah" userId="63e3ce5a-fcc6-474a-b3de-375720223e75" providerId="ADAL" clId="{7F46B15F-7C3A-495B-9DE8-2AD650A79A1F}" dt="2023-10-10T16:44:35.640" v="1689"/>
          <ac:spMkLst>
            <pc:docMk/>
            <pc:sldMk cId="2136892941" sldId="299"/>
            <ac:spMk id="31" creationId="{ACF0625D-6381-172D-F2E2-38667A85AB52}"/>
          </ac:spMkLst>
        </pc:spChg>
        <pc:spChg chg="add del mod modVis">
          <ac:chgData name="Guinn, Sarah" userId="63e3ce5a-fcc6-474a-b3de-375720223e75" providerId="ADAL" clId="{7F46B15F-7C3A-495B-9DE8-2AD650A79A1F}" dt="2023-10-10T16:44:47.758" v="2005"/>
          <ac:spMkLst>
            <pc:docMk/>
            <pc:sldMk cId="2136892941" sldId="299"/>
            <ac:spMk id="64" creationId="{458F3203-0333-754E-8B30-486D2B051F49}"/>
          </ac:spMkLst>
        </pc:spChg>
        <pc:spChg chg="add del mod modVis">
          <ac:chgData name="Guinn, Sarah" userId="63e3ce5a-fcc6-474a-b3de-375720223e75" providerId="ADAL" clId="{7F46B15F-7C3A-495B-9DE8-2AD650A79A1F}" dt="2023-10-10T16:44:48.375" v="2079"/>
          <ac:spMkLst>
            <pc:docMk/>
            <pc:sldMk cId="2136892941" sldId="299"/>
            <ac:spMk id="66" creationId="{BB4BB98A-D32E-45E6-B87A-8C144746EEF7}"/>
          </ac:spMkLst>
        </pc:spChg>
        <pc:spChg chg="add del mod modVis">
          <ac:chgData name="Guinn, Sarah" userId="63e3ce5a-fcc6-474a-b3de-375720223e75" providerId="ADAL" clId="{7F46B15F-7C3A-495B-9DE8-2AD650A79A1F}" dt="2023-10-10T16:44:49.626" v="2153"/>
          <ac:spMkLst>
            <pc:docMk/>
            <pc:sldMk cId="2136892941" sldId="299"/>
            <ac:spMk id="68" creationId="{8C7ADBA2-AD38-3617-B94D-48FB76C76DFA}"/>
          </ac:spMkLst>
        </pc:spChg>
        <pc:spChg chg="add del mod modVis">
          <ac:chgData name="Guinn, Sarah" userId="63e3ce5a-fcc6-474a-b3de-375720223e75" providerId="ADAL" clId="{7F46B15F-7C3A-495B-9DE8-2AD650A79A1F}" dt="2023-10-10T16:44:52.826" v="2236"/>
          <ac:spMkLst>
            <pc:docMk/>
            <pc:sldMk cId="2136892941" sldId="299"/>
            <ac:spMk id="70" creationId="{EBA57AB6-D92B-F4DD-10CE-DD603425DE29}"/>
          </ac:spMkLst>
        </pc:spChg>
        <pc:spChg chg="add del mod modVis">
          <ac:chgData name="Guinn, Sarah" userId="63e3ce5a-fcc6-474a-b3de-375720223e75" providerId="ADAL" clId="{7F46B15F-7C3A-495B-9DE8-2AD650A79A1F}" dt="2023-10-10T16:44:54.078" v="2313"/>
          <ac:spMkLst>
            <pc:docMk/>
            <pc:sldMk cId="2136892941" sldId="299"/>
            <ac:spMk id="72" creationId="{11D86303-95A9-2C11-E6CC-1CAF32FD1D11}"/>
          </ac:spMkLst>
        </pc:spChg>
        <pc:spChg chg="add del mod modVis">
          <ac:chgData name="Guinn, Sarah" userId="63e3ce5a-fcc6-474a-b3de-375720223e75" providerId="ADAL" clId="{7F46B15F-7C3A-495B-9DE8-2AD650A79A1F}" dt="2023-10-10T16:44:55.401" v="2388"/>
          <ac:spMkLst>
            <pc:docMk/>
            <pc:sldMk cId="2136892941" sldId="299"/>
            <ac:spMk id="74" creationId="{8E3931B7-A73B-C4E5-6B3D-FACE0AB3A9D0}"/>
          </ac:spMkLst>
        </pc:spChg>
        <pc:spChg chg="add del mod modVis">
          <ac:chgData name="Guinn, Sarah" userId="63e3ce5a-fcc6-474a-b3de-375720223e75" providerId="ADAL" clId="{7F46B15F-7C3A-495B-9DE8-2AD650A79A1F}" dt="2023-10-10T16:45:00.909" v="3429"/>
          <ac:spMkLst>
            <pc:docMk/>
            <pc:sldMk cId="2136892941" sldId="299"/>
            <ac:spMk id="76" creationId="{FA3DA71B-FC9A-B4AF-6D47-F479C3E3007F}"/>
          </ac:spMkLst>
        </pc:spChg>
        <pc:spChg chg="add del mod replST">
          <ac:chgData name="Guinn, Sarah" userId="63e3ce5a-fcc6-474a-b3de-375720223e75" providerId="ADAL" clId="{7F46B15F-7C3A-495B-9DE8-2AD650A79A1F}" dt="2023-10-10T16:45:02.279" v="3499"/>
          <ac:spMkLst>
            <pc:docMk/>
            <pc:sldMk cId="2136892941" sldId="299"/>
            <ac:spMk id="78" creationId="{86EE927D-37E3-2D37-CB64-F30F1DFFFFBC}"/>
          </ac:spMkLst>
        </pc:spChg>
        <pc:spChg chg="add del mod replST">
          <ac:chgData name="Guinn, Sarah" userId="63e3ce5a-fcc6-474a-b3de-375720223e75" providerId="ADAL" clId="{7F46B15F-7C3A-495B-9DE8-2AD650A79A1F}" dt="2023-10-10T16:45:02.280" v="3500"/>
          <ac:spMkLst>
            <pc:docMk/>
            <pc:sldMk cId="2136892941" sldId="299"/>
            <ac:spMk id="79" creationId="{D6765DA9-B61A-A9C3-FCE9-CB749F50DC5D}"/>
          </ac:spMkLst>
        </pc:spChg>
        <pc:spChg chg="add del mod replST">
          <ac:chgData name="Guinn, Sarah" userId="63e3ce5a-fcc6-474a-b3de-375720223e75" providerId="ADAL" clId="{7F46B15F-7C3A-495B-9DE8-2AD650A79A1F}" dt="2023-10-10T16:45:02.283" v="3501"/>
          <ac:spMkLst>
            <pc:docMk/>
            <pc:sldMk cId="2136892941" sldId="299"/>
            <ac:spMk id="80" creationId="{325EB97A-7A5D-C0C5-B684-132CD04FA9B6}"/>
          </ac:spMkLst>
        </pc:spChg>
        <pc:spChg chg="add del mod replST">
          <ac:chgData name="Guinn, Sarah" userId="63e3ce5a-fcc6-474a-b3de-375720223e75" providerId="ADAL" clId="{7F46B15F-7C3A-495B-9DE8-2AD650A79A1F}" dt="2023-10-10T16:45:02.285" v="3502"/>
          <ac:spMkLst>
            <pc:docMk/>
            <pc:sldMk cId="2136892941" sldId="299"/>
            <ac:spMk id="81" creationId="{F2526423-2BAA-2338-F1B8-E5010433D72A}"/>
          </ac:spMkLst>
        </pc:spChg>
        <pc:spChg chg="add del mod replST">
          <ac:chgData name="Guinn, Sarah" userId="63e3ce5a-fcc6-474a-b3de-375720223e75" providerId="ADAL" clId="{7F46B15F-7C3A-495B-9DE8-2AD650A79A1F}" dt="2023-10-10T16:45:02.288" v="3503"/>
          <ac:spMkLst>
            <pc:docMk/>
            <pc:sldMk cId="2136892941" sldId="299"/>
            <ac:spMk id="82" creationId="{4AAC4975-B645-C843-6F85-0C0264FAED2A}"/>
          </ac:spMkLst>
        </pc:spChg>
        <pc:spChg chg="add del mod replST">
          <ac:chgData name="Guinn, Sarah" userId="63e3ce5a-fcc6-474a-b3de-375720223e75" providerId="ADAL" clId="{7F46B15F-7C3A-495B-9DE8-2AD650A79A1F}" dt="2023-10-10T16:45:02.290" v="3504"/>
          <ac:spMkLst>
            <pc:docMk/>
            <pc:sldMk cId="2136892941" sldId="299"/>
            <ac:spMk id="83" creationId="{BB4D70B2-77B2-7158-0905-05AB48854200}"/>
          </ac:spMkLst>
        </pc:spChg>
        <pc:spChg chg="add del mod replST">
          <ac:chgData name="Guinn, Sarah" userId="63e3ce5a-fcc6-474a-b3de-375720223e75" providerId="ADAL" clId="{7F46B15F-7C3A-495B-9DE8-2AD650A79A1F}" dt="2023-10-10T16:45:02.293" v="3505"/>
          <ac:spMkLst>
            <pc:docMk/>
            <pc:sldMk cId="2136892941" sldId="299"/>
            <ac:spMk id="84" creationId="{2B78FE4C-D9F6-9507-FA72-1074E7F91858}"/>
          </ac:spMkLst>
        </pc:spChg>
        <pc:spChg chg="add del mod replST">
          <ac:chgData name="Guinn, Sarah" userId="63e3ce5a-fcc6-474a-b3de-375720223e75" providerId="ADAL" clId="{7F46B15F-7C3A-495B-9DE8-2AD650A79A1F}" dt="2023-10-10T16:45:02.296" v="3506"/>
          <ac:spMkLst>
            <pc:docMk/>
            <pc:sldMk cId="2136892941" sldId="299"/>
            <ac:spMk id="85" creationId="{3BF9879F-2422-1E53-9F68-386D82C513A9}"/>
          </ac:spMkLst>
        </pc:spChg>
        <pc:spChg chg="add del mod replST">
          <ac:chgData name="Guinn, Sarah" userId="63e3ce5a-fcc6-474a-b3de-375720223e75" providerId="ADAL" clId="{7F46B15F-7C3A-495B-9DE8-2AD650A79A1F}" dt="2023-10-10T16:45:02.300" v="3507"/>
          <ac:spMkLst>
            <pc:docMk/>
            <pc:sldMk cId="2136892941" sldId="299"/>
            <ac:spMk id="86" creationId="{4FD601CF-D602-3330-E9BC-D68C8DEDB29F}"/>
          </ac:spMkLst>
        </pc:spChg>
        <pc:spChg chg="add del mod replST">
          <ac:chgData name="Guinn, Sarah" userId="63e3ce5a-fcc6-474a-b3de-375720223e75" providerId="ADAL" clId="{7F46B15F-7C3A-495B-9DE8-2AD650A79A1F}" dt="2023-10-10T16:45:02.305" v="3508"/>
          <ac:spMkLst>
            <pc:docMk/>
            <pc:sldMk cId="2136892941" sldId="299"/>
            <ac:spMk id="87" creationId="{19E4C20A-080A-34CB-EE47-AC98036FC87E}"/>
          </ac:spMkLst>
        </pc:spChg>
        <pc:spChg chg="add del mod replST">
          <ac:chgData name="Guinn, Sarah" userId="63e3ce5a-fcc6-474a-b3de-375720223e75" providerId="ADAL" clId="{7F46B15F-7C3A-495B-9DE8-2AD650A79A1F}" dt="2023-10-10T16:45:02.309" v="3509"/>
          <ac:spMkLst>
            <pc:docMk/>
            <pc:sldMk cId="2136892941" sldId="299"/>
            <ac:spMk id="88" creationId="{FC50FE2D-97AE-4028-B8D8-58ED5D619DE4}"/>
          </ac:spMkLst>
        </pc:spChg>
        <pc:spChg chg="add del mod replST">
          <ac:chgData name="Guinn, Sarah" userId="63e3ce5a-fcc6-474a-b3de-375720223e75" providerId="ADAL" clId="{7F46B15F-7C3A-495B-9DE8-2AD650A79A1F}" dt="2023-10-10T16:45:02.314" v="3510"/>
          <ac:spMkLst>
            <pc:docMk/>
            <pc:sldMk cId="2136892941" sldId="299"/>
            <ac:spMk id="89" creationId="{F2C83DEA-D182-28B9-3C3C-ADABFF4DB191}"/>
          </ac:spMkLst>
        </pc:spChg>
        <pc:spChg chg="add del mod replST">
          <ac:chgData name="Guinn, Sarah" userId="63e3ce5a-fcc6-474a-b3de-375720223e75" providerId="ADAL" clId="{7F46B15F-7C3A-495B-9DE8-2AD650A79A1F}" dt="2023-10-10T16:45:02.318" v="3511"/>
          <ac:spMkLst>
            <pc:docMk/>
            <pc:sldMk cId="2136892941" sldId="299"/>
            <ac:spMk id="90" creationId="{B3BFCC9D-9EE0-E37E-DDA9-96941E92E7A8}"/>
          </ac:spMkLst>
        </pc:spChg>
        <pc:spChg chg="add del mod replST">
          <ac:chgData name="Guinn, Sarah" userId="63e3ce5a-fcc6-474a-b3de-375720223e75" providerId="ADAL" clId="{7F46B15F-7C3A-495B-9DE8-2AD650A79A1F}" dt="2023-10-10T16:45:02.325" v="3512"/>
          <ac:spMkLst>
            <pc:docMk/>
            <pc:sldMk cId="2136892941" sldId="299"/>
            <ac:spMk id="91" creationId="{D965BBB4-9A6D-10A5-5929-915E960A6235}"/>
          </ac:spMkLst>
        </pc:spChg>
        <pc:spChg chg="add del mod replST">
          <ac:chgData name="Guinn, Sarah" userId="63e3ce5a-fcc6-474a-b3de-375720223e75" providerId="ADAL" clId="{7F46B15F-7C3A-495B-9DE8-2AD650A79A1F}" dt="2023-10-10T16:45:02.329" v="3513"/>
          <ac:spMkLst>
            <pc:docMk/>
            <pc:sldMk cId="2136892941" sldId="299"/>
            <ac:spMk id="92" creationId="{BEB16870-77D1-F3EB-B76E-78559C18A70F}"/>
          </ac:spMkLst>
        </pc:spChg>
        <pc:spChg chg="add del mod replST">
          <ac:chgData name="Guinn, Sarah" userId="63e3ce5a-fcc6-474a-b3de-375720223e75" providerId="ADAL" clId="{7F46B15F-7C3A-495B-9DE8-2AD650A79A1F}" dt="2023-10-10T16:45:02.335" v="3514"/>
          <ac:spMkLst>
            <pc:docMk/>
            <pc:sldMk cId="2136892941" sldId="299"/>
            <ac:spMk id="93" creationId="{662B3723-3531-C4A2-A1E1-1B1733610660}"/>
          </ac:spMkLst>
        </pc:spChg>
        <pc:spChg chg="add del mod replST">
          <ac:chgData name="Guinn, Sarah" userId="63e3ce5a-fcc6-474a-b3de-375720223e75" providerId="ADAL" clId="{7F46B15F-7C3A-495B-9DE8-2AD650A79A1F}" dt="2023-10-10T16:45:02.341" v="3515"/>
          <ac:spMkLst>
            <pc:docMk/>
            <pc:sldMk cId="2136892941" sldId="299"/>
            <ac:spMk id="94" creationId="{45953CD0-1A40-4053-2A54-8BEA3DCA54A9}"/>
          </ac:spMkLst>
        </pc:spChg>
        <pc:spChg chg="add del mod replST">
          <ac:chgData name="Guinn, Sarah" userId="63e3ce5a-fcc6-474a-b3de-375720223e75" providerId="ADAL" clId="{7F46B15F-7C3A-495B-9DE8-2AD650A79A1F}" dt="2023-10-10T16:45:02.346" v="3516"/>
          <ac:spMkLst>
            <pc:docMk/>
            <pc:sldMk cId="2136892941" sldId="299"/>
            <ac:spMk id="95" creationId="{4A4D9A7E-D8BD-975E-435E-DD089AEB3783}"/>
          </ac:spMkLst>
        </pc:spChg>
        <pc:spChg chg="add del mod replST">
          <ac:chgData name="Guinn, Sarah" userId="63e3ce5a-fcc6-474a-b3de-375720223e75" providerId="ADAL" clId="{7F46B15F-7C3A-495B-9DE8-2AD650A79A1F}" dt="2023-10-10T16:44:36.722" v="1758"/>
          <ac:spMkLst>
            <pc:docMk/>
            <pc:sldMk cId="2136892941" sldId="299"/>
            <ac:spMk id="224" creationId="{9569F6E1-D222-EE13-C5BF-A3F07358AD1A}"/>
          </ac:spMkLst>
        </pc:spChg>
        <pc:spChg chg="add del mod replST">
          <ac:chgData name="Guinn, Sarah" userId="63e3ce5a-fcc6-474a-b3de-375720223e75" providerId="ADAL" clId="{7F46B15F-7C3A-495B-9DE8-2AD650A79A1F}" dt="2023-10-10T16:44:36.727" v="1759"/>
          <ac:spMkLst>
            <pc:docMk/>
            <pc:sldMk cId="2136892941" sldId="299"/>
            <ac:spMk id="225" creationId="{879E5FA7-ADA6-1D09-5963-A6CCB9F74253}"/>
          </ac:spMkLst>
        </pc:spChg>
        <pc:spChg chg="add del mod replST">
          <ac:chgData name="Guinn, Sarah" userId="63e3ce5a-fcc6-474a-b3de-375720223e75" providerId="ADAL" clId="{7F46B15F-7C3A-495B-9DE8-2AD650A79A1F}" dt="2023-10-10T16:44:36.728" v="1760"/>
          <ac:spMkLst>
            <pc:docMk/>
            <pc:sldMk cId="2136892941" sldId="299"/>
            <ac:spMk id="226" creationId="{C4FE5D92-E6D3-7F6E-AA9E-5BEF8CE92C4E}"/>
          </ac:spMkLst>
        </pc:spChg>
        <pc:spChg chg="add del mod replST">
          <ac:chgData name="Guinn, Sarah" userId="63e3ce5a-fcc6-474a-b3de-375720223e75" providerId="ADAL" clId="{7F46B15F-7C3A-495B-9DE8-2AD650A79A1F}" dt="2023-10-10T16:44:36.730" v="1761"/>
          <ac:spMkLst>
            <pc:docMk/>
            <pc:sldMk cId="2136892941" sldId="299"/>
            <ac:spMk id="227" creationId="{F978D3A7-6B43-BAEC-597D-7EE90400C815}"/>
          </ac:spMkLst>
        </pc:spChg>
        <pc:spChg chg="add del mod replST">
          <ac:chgData name="Guinn, Sarah" userId="63e3ce5a-fcc6-474a-b3de-375720223e75" providerId="ADAL" clId="{7F46B15F-7C3A-495B-9DE8-2AD650A79A1F}" dt="2023-10-10T16:44:36.731" v="1762"/>
          <ac:spMkLst>
            <pc:docMk/>
            <pc:sldMk cId="2136892941" sldId="299"/>
            <ac:spMk id="228" creationId="{BCBC9FA9-8C51-0A82-9440-0A62FB017EA1}"/>
          </ac:spMkLst>
        </pc:spChg>
        <pc:spChg chg="add del mod replST">
          <ac:chgData name="Guinn, Sarah" userId="63e3ce5a-fcc6-474a-b3de-375720223e75" providerId="ADAL" clId="{7F46B15F-7C3A-495B-9DE8-2AD650A79A1F}" dt="2023-10-10T16:44:36.732" v="1763"/>
          <ac:spMkLst>
            <pc:docMk/>
            <pc:sldMk cId="2136892941" sldId="299"/>
            <ac:spMk id="229" creationId="{D9CF23ED-6C06-5492-2351-ED429C7553AD}"/>
          </ac:spMkLst>
        </pc:spChg>
        <pc:spChg chg="add del mod replST">
          <ac:chgData name="Guinn, Sarah" userId="63e3ce5a-fcc6-474a-b3de-375720223e75" providerId="ADAL" clId="{7F46B15F-7C3A-495B-9DE8-2AD650A79A1F}" dt="2023-10-10T16:44:36.734" v="1764"/>
          <ac:spMkLst>
            <pc:docMk/>
            <pc:sldMk cId="2136892941" sldId="299"/>
            <ac:spMk id="230" creationId="{E6E923E2-A5F3-DB38-EE8D-8AB8E26C2ADB}"/>
          </ac:spMkLst>
        </pc:spChg>
        <pc:spChg chg="add del mod replST">
          <ac:chgData name="Guinn, Sarah" userId="63e3ce5a-fcc6-474a-b3de-375720223e75" providerId="ADAL" clId="{7F46B15F-7C3A-495B-9DE8-2AD650A79A1F}" dt="2023-10-10T16:44:36.736" v="1765"/>
          <ac:spMkLst>
            <pc:docMk/>
            <pc:sldMk cId="2136892941" sldId="299"/>
            <ac:spMk id="231" creationId="{976DBBD0-A721-A4D6-D7E4-AA4EA0948040}"/>
          </ac:spMkLst>
        </pc:spChg>
        <pc:spChg chg="add del mod replST">
          <ac:chgData name="Guinn, Sarah" userId="63e3ce5a-fcc6-474a-b3de-375720223e75" providerId="ADAL" clId="{7F46B15F-7C3A-495B-9DE8-2AD650A79A1F}" dt="2023-10-10T16:44:36.737" v="1766"/>
          <ac:spMkLst>
            <pc:docMk/>
            <pc:sldMk cId="2136892941" sldId="299"/>
            <ac:spMk id="232" creationId="{E070E47F-849C-43E7-FB73-A7DFE8C70396}"/>
          </ac:spMkLst>
        </pc:spChg>
        <pc:spChg chg="add del mod replST">
          <ac:chgData name="Guinn, Sarah" userId="63e3ce5a-fcc6-474a-b3de-375720223e75" providerId="ADAL" clId="{7F46B15F-7C3A-495B-9DE8-2AD650A79A1F}" dt="2023-10-10T16:44:36.740" v="1767"/>
          <ac:spMkLst>
            <pc:docMk/>
            <pc:sldMk cId="2136892941" sldId="299"/>
            <ac:spMk id="233" creationId="{925F0507-BD3C-F3BA-A882-EC29A66EAE74}"/>
          </ac:spMkLst>
        </pc:spChg>
        <pc:spChg chg="add del mod replST">
          <ac:chgData name="Guinn, Sarah" userId="63e3ce5a-fcc6-474a-b3de-375720223e75" providerId="ADAL" clId="{7F46B15F-7C3A-495B-9DE8-2AD650A79A1F}" dt="2023-10-10T16:44:36.743" v="1768"/>
          <ac:spMkLst>
            <pc:docMk/>
            <pc:sldMk cId="2136892941" sldId="299"/>
            <ac:spMk id="234" creationId="{DE06C600-931F-7E0B-8306-4A8F8F9F8CA4}"/>
          </ac:spMkLst>
        </pc:spChg>
        <pc:spChg chg="add del mod replST">
          <ac:chgData name="Guinn, Sarah" userId="63e3ce5a-fcc6-474a-b3de-375720223e75" providerId="ADAL" clId="{7F46B15F-7C3A-495B-9DE8-2AD650A79A1F}" dt="2023-10-10T16:44:36.746" v="1769"/>
          <ac:spMkLst>
            <pc:docMk/>
            <pc:sldMk cId="2136892941" sldId="299"/>
            <ac:spMk id="235" creationId="{BB882602-0F10-6F39-8573-41755CD1C55B}"/>
          </ac:spMkLst>
        </pc:spChg>
        <pc:spChg chg="add del mod replST">
          <ac:chgData name="Guinn, Sarah" userId="63e3ce5a-fcc6-474a-b3de-375720223e75" providerId="ADAL" clId="{7F46B15F-7C3A-495B-9DE8-2AD650A79A1F}" dt="2023-10-10T16:44:36.748" v="1770"/>
          <ac:spMkLst>
            <pc:docMk/>
            <pc:sldMk cId="2136892941" sldId="299"/>
            <ac:spMk id="236" creationId="{4D7D60A0-7DE1-BDE4-4044-451992754DAA}"/>
          </ac:spMkLst>
        </pc:spChg>
        <pc:spChg chg="add del mod replST">
          <ac:chgData name="Guinn, Sarah" userId="63e3ce5a-fcc6-474a-b3de-375720223e75" providerId="ADAL" clId="{7F46B15F-7C3A-495B-9DE8-2AD650A79A1F}" dt="2023-10-10T16:44:36.751" v="1771"/>
          <ac:spMkLst>
            <pc:docMk/>
            <pc:sldMk cId="2136892941" sldId="299"/>
            <ac:spMk id="237" creationId="{CCE01911-6F26-5110-AFAD-319F59C36003}"/>
          </ac:spMkLst>
        </pc:spChg>
        <pc:spChg chg="add del mod replST">
          <ac:chgData name="Guinn, Sarah" userId="63e3ce5a-fcc6-474a-b3de-375720223e75" providerId="ADAL" clId="{7F46B15F-7C3A-495B-9DE8-2AD650A79A1F}" dt="2023-10-10T16:44:36.753" v="1772"/>
          <ac:spMkLst>
            <pc:docMk/>
            <pc:sldMk cId="2136892941" sldId="299"/>
            <ac:spMk id="238" creationId="{8A225962-D32C-1FEC-5AAA-3984100AA353}"/>
          </ac:spMkLst>
        </pc:spChg>
        <pc:spChg chg="del mod">
          <ac:chgData name="Guinn, Sarah" userId="63e3ce5a-fcc6-474a-b3de-375720223e75" providerId="ADAL" clId="{7F46B15F-7C3A-495B-9DE8-2AD650A79A1F}" dt="2023-10-10T16:43:53.141" v="440"/>
          <ac:spMkLst>
            <pc:docMk/>
            <pc:sldMk cId="2136892941" sldId="299"/>
            <ac:spMk id="239" creationId="{AFCDF5BE-2DD2-790A-74F2-24688C56EB29}"/>
          </ac:spMkLst>
        </pc:spChg>
        <pc:spChg chg="add del mod replST">
          <ac:chgData name="Guinn, Sarah" userId="63e3ce5a-fcc6-474a-b3de-375720223e75" providerId="ADAL" clId="{7F46B15F-7C3A-495B-9DE8-2AD650A79A1F}" dt="2023-10-10T16:44:36.757" v="1773"/>
          <ac:spMkLst>
            <pc:docMk/>
            <pc:sldMk cId="2136892941" sldId="299"/>
            <ac:spMk id="240" creationId="{6EA9242E-2ABB-3AC6-9673-02DEF79DA182}"/>
          </ac:spMkLst>
        </pc:spChg>
        <pc:spChg chg="add del mod replST">
          <ac:chgData name="Guinn, Sarah" userId="63e3ce5a-fcc6-474a-b3de-375720223e75" providerId="ADAL" clId="{7F46B15F-7C3A-495B-9DE8-2AD650A79A1F}" dt="2023-10-10T16:44:36.761" v="1774"/>
          <ac:spMkLst>
            <pc:docMk/>
            <pc:sldMk cId="2136892941" sldId="299"/>
            <ac:spMk id="242" creationId="{2C590D2F-D608-8236-97FD-715A131B08EC}"/>
          </ac:spMkLst>
        </pc:spChg>
        <pc:spChg chg="del mod">
          <ac:chgData name="Guinn, Sarah" userId="63e3ce5a-fcc6-474a-b3de-375720223e75" providerId="ADAL" clId="{7F46B15F-7C3A-495B-9DE8-2AD650A79A1F}" dt="2023-10-10T16:43:53.140" v="437"/>
          <ac:spMkLst>
            <pc:docMk/>
            <pc:sldMk cId="2136892941" sldId="299"/>
            <ac:spMk id="243" creationId="{686E8F88-FC40-5D8C-C71F-82965A68EF0A}"/>
          </ac:spMkLst>
        </pc:spChg>
        <pc:spChg chg="add del mod replST">
          <ac:chgData name="Guinn, Sarah" userId="63e3ce5a-fcc6-474a-b3de-375720223e75" providerId="ADAL" clId="{7F46B15F-7C3A-495B-9DE8-2AD650A79A1F}" dt="2023-10-10T16:44:36.764" v="1775"/>
          <ac:spMkLst>
            <pc:docMk/>
            <pc:sldMk cId="2136892941" sldId="299"/>
            <ac:spMk id="244" creationId="{23521A3A-9668-E696-CBF5-DD15719CC685}"/>
          </ac:spMkLst>
        </pc:spChg>
        <pc:spChg chg="add del mod replST">
          <ac:chgData name="Guinn, Sarah" userId="63e3ce5a-fcc6-474a-b3de-375720223e75" providerId="ADAL" clId="{7F46B15F-7C3A-495B-9DE8-2AD650A79A1F}" dt="2023-10-10T16:44:36.768" v="1776"/>
          <ac:spMkLst>
            <pc:docMk/>
            <pc:sldMk cId="2136892941" sldId="299"/>
            <ac:spMk id="245" creationId="{95D453D1-01C6-BFD6-28D0-76C327F8354D}"/>
          </ac:spMkLst>
        </pc:spChg>
        <pc:spChg chg="add del mod replST">
          <ac:chgData name="Guinn, Sarah" userId="63e3ce5a-fcc6-474a-b3de-375720223e75" providerId="ADAL" clId="{7F46B15F-7C3A-495B-9DE8-2AD650A79A1F}" dt="2023-10-10T16:44:36.773" v="1777"/>
          <ac:spMkLst>
            <pc:docMk/>
            <pc:sldMk cId="2136892941" sldId="299"/>
            <ac:spMk id="246" creationId="{A75D11EC-9A47-1A67-D982-99538ECC7E6B}"/>
          </ac:spMkLst>
        </pc:spChg>
        <pc:spChg chg="add del mod replST">
          <ac:chgData name="Guinn, Sarah" userId="63e3ce5a-fcc6-474a-b3de-375720223e75" providerId="ADAL" clId="{7F46B15F-7C3A-495B-9DE8-2AD650A79A1F}" dt="2023-10-10T16:44:36.777" v="1778"/>
          <ac:spMkLst>
            <pc:docMk/>
            <pc:sldMk cId="2136892941" sldId="299"/>
            <ac:spMk id="247" creationId="{BB768197-06DF-5016-30DD-A20121C25BBA}"/>
          </ac:spMkLst>
        </pc:spChg>
        <pc:spChg chg="add del mod modVis">
          <ac:chgData name="Guinn, Sarah" userId="63e3ce5a-fcc6-474a-b3de-375720223e75" providerId="ADAL" clId="{7F46B15F-7C3A-495B-9DE8-2AD650A79A1F}" dt="2023-10-10T16:44:36.882" v="1800"/>
          <ac:spMkLst>
            <pc:docMk/>
            <pc:sldMk cId="2136892941" sldId="299"/>
            <ac:spMk id="250" creationId="{781A6B85-53E6-CA06-626B-F1F86132A2AA}"/>
          </ac:spMkLst>
        </pc:spChg>
        <pc:spChg chg="add del mod modVis">
          <ac:chgData name="Guinn, Sarah" userId="63e3ce5a-fcc6-474a-b3de-375720223e75" providerId="ADAL" clId="{7F46B15F-7C3A-495B-9DE8-2AD650A79A1F}" dt="2023-10-10T16:44:41.437" v="1926"/>
          <ac:spMkLst>
            <pc:docMk/>
            <pc:sldMk cId="2136892941" sldId="299"/>
            <ac:spMk id="252" creationId="{67710691-31AD-2BD8-7731-B442E1142ACB}"/>
          </ac:spMkLst>
        </pc:spChg>
        <pc:spChg chg="add mod replST">
          <ac:chgData name="Guinn, Sarah" userId="63e3ce5a-fcc6-474a-b3de-375720223e75" providerId="ADAL" clId="{7F46B15F-7C3A-495B-9DE8-2AD650A79A1F}" dt="2023-10-10T16:45:59.651" v="5286"/>
          <ac:spMkLst>
            <pc:docMk/>
            <pc:sldMk cId="2136892941" sldId="299"/>
            <ac:spMk id="253" creationId="{B1A37BC6-AC11-64A0-C7A6-972F6377B3C8}"/>
          </ac:spMkLst>
        </pc:spChg>
        <pc:spChg chg="add del mod replST">
          <ac:chgData name="Guinn, Sarah" userId="63e3ce5a-fcc6-474a-b3de-375720223e75" providerId="ADAL" clId="{7F46B15F-7C3A-495B-9DE8-2AD650A79A1F}" dt="2023-10-10T16:45:02.352" v="3517"/>
          <ac:spMkLst>
            <pc:docMk/>
            <pc:sldMk cId="2136892941" sldId="299"/>
            <ac:spMk id="256" creationId="{F99B850C-9BD4-AC12-A0FF-700674099D42}"/>
          </ac:spMkLst>
        </pc:spChg>
        <pc:spChg chg="add del mod replST">
          <ac:chgData name="Guinn, Sarah" userId="63e3ce5a-fcc6-474a-b3de-375720223e75" providerId="ADAL" clId="{7F46B15F-7C3A-495B-9DE8-2AD650A79A1F}" dt="2023-10-10T16:45:02.359" v="3518"/>
          <ac:spMkLst>
            <pc:docMk/>
            <pc:sldMk cId="2136892941" sldId="299"/>
            <ac:spMk id="257" creationId="{98D562B3-4473-646C-75A3-4E811AC14DE0}"/>
          </ac:spMkLst>
        </pc:spChg>
        <pc:spChg chg="add del mod replST">
          <ac:chgData name="Guinn, Sarah" userId="63e3ce5a-fcc6-474a-b3de-375720223e75" providerId="ADAL" clId="{7F46B15F-7C3A-495B-9DE8-2AD650A79A1F}" dt="2023-10-10T16:45:02.366" v="3519"/>
          <ac:spMkLst>
            <pc:docMk/>
            <pc:sldMk cId="2136892941" sldId="299"/>
            <ac:spMk id="258" creationId="{00E5A24B-B828-39FC-6E4B-F2C6D56B802F}"/>
          </ac:spMkLst>
        </pc:spChg>
        <pc:spChg chg="add del mod modVis">
          <ac:chgData name="Guinn, Sarah" userId="63e3ce5a-fcc6-474a-b3de-375720223e75" providerId="ADAL" clId="{7F46B15F-7C3A-495B-9DE8-2AD650A79A1F}" dt="2023-10-10T16:45:02.563" v="3542"/>
          <ac:spMkLst>
            <pc:docMk/>
            <pc:sldMk cId="2136892941" sldId="299"/>
            <ac:spMk id="260" creationId="{3D0463ED-A887-7A8E-8B28-3CA17CEFA2A7}"/>
          </ac:spMkLst>
        </pc:spChg>
        <pc:spChg chg="add del mod modVis">
          <ac:chgData name="Guinn, Sarah" userId="63e3ce5a-fcc6-474a-b3de-375720223e75" providerId="ADAL" clId="{7F46B15F-7C3A-495B-9DE8-2AD650A79A1F}" dt="2023-10-10T16:45:05.450" v="3616"/>
          <ac:spMkLst>
            <pc:docMk/>
            <pc:sldMk cId="2136892941" sldId="299"/>
            <ac:spMk id="262" creationId="{BD487FD2-0793-9D63-EA56-9979CC58FEA5}"/>
          </ac:spMkLst>
        </pc:spChg>
        <pc:spChg chg="add del mod modVis">
          <ac:chgData name="Guinn, Sarah" userId="63e3ce5a-fcc6-474a-b3de-375720223e75" providerId="ADAL" clId="{7F46B15F-7C3A-495B-9DE8-2AD650A79A1F}" dt="2023-10-10T16:45:06.233" v="3692"/>
          <ac:spMkLst>
            <pc:docMk/>
            <pc:sldMk cId="2136892941" sldId="299"/>
            <ac:spMk id="264" creationId="{3B0BA787-642F-5DA1-E1E4-FA7A208E154F}"/>
          </ac:spMkLst>
        </pc:spChg>
        <pc:spChg chg="add del mod modVis">
          <ac:chgData name="Guinn, Sarah" userId="63e3ce5a-fcc6-474a-b3de-375720223e75" providerId="ADAL" clId="{7F46B15F-7C3A-495B-9DE8-2AD650A79A1F}" dt="2023-10-10T16:45:07.064" v="3768"/>
          <ac:spMkLst>
            <pc:docMk/>
            <pc:sldMk cId="2136892941" sldId="299"/>
            <ac:spMk id="266" creationId="{5F55E734-5F78-C349-1AD7-2F30FA3E676F}"/>
          </ac:spMkLst>
        </pc:spChg>
        <pc:spChg chg="add del mod modVis">
          <ac:chgData name="Guinn, Sarah" userId="63e3ce5a-fcc6-474a-b3de-375720223e75" providerId="ADAL" clId="{7F46B15F-7C3A-495B-9DE8-2AD650A79A1F}" dt="2023-10-10T16:45:08.626" v="3845"/>
          <ac:spMkLst>
            <pc:docMk/>
            <pc:sldMk cId="2136892941" sldId="299"/>
            <ac:spMk id="268" creationId="{B019BD22-9EBD-F8CE-199E-A9871B3B9083}"/>
          </ac:spMkLst>
        </pc:spChg>
        <pc:spChg chg="add del mod modVis">
          <ac:chgData name="Guinn, Sarah" userId="63e3ce5a-fcc6-474a-b3de-375720223e75" providerId="ADAL" clId="{7F46B15F-7C3A-495B-9DE8-2AD650A79A1F}" dt="2023-10-10T16:45:09.953" v="3921"/>
          <ac:spMkLst>
            <pc:docMk/>
            <pc:sldMk cId="2136892941" sldId="299"/>
            <ac:spMk id="270" creationId="{D062BA94-1646-196B-8DDA-D5199ABCB58C}"/>
          </ac:spMkLst>
        </pc:spChg>
        <pc:spChg chg="add del mod modVis">
          <ac:chgData name="Guinn, Sarah" userId="63e3ce5a-fcc6-474a-b3de-375720223e75" providerId="ADAL" clId="{7F46B15F-7C3A-495B-9DE8-2AD650A79A1F}" dt="2023-10-10T16:45:13.320" v="4962"/>
          <ac:spMkLst>
            <pc:docMk/>
            <pc:sldMk cId="2136892941" sldId="299"/>
            <ac:spMk id="272" creationId="{0C03EE7A-1A03-09F7-CC0E-E6EA590CAB0E}"/>
          </ac:spMkLst>
        </pc:spChg>
        <pc:spChg chg="add del mod replST">
          <ac:chgData name="Guinn, Sarah" userId="63e3ce5a-fcc6-474a-b3de-375720223e75" providerId="ADAL" clId="{7F46B15F-7C3A-495B-9DE8-2AD650A79A1F}" dt="2023-10-10T16:45:13.899" v="5032"/>
          <ac:spMkLst>
            <pc:docMk/>
            <pc:sldMk cId="2136892941" sldId="299"/>
            <ac:spMk id="273" creationId="{257A1818-F927-2D2A-8F0B-1051D8F1F107}"/>
          </ac:spMkLst>
        </pc:spChg>
        <pc:spChg chg="add del mod replST">
          <ac:chgData name="Guinn, Sarah" userId="63e3ce5a-fcc6-474a-b3de-375720223e75" providerId="ADAL" clId="{7F46B15F-7C3A-495B-9DE8-2AD650A79A1F}" dt="2023-10-10T16:45:13.900" v="5033"/>
          <ac:spMkLst>
            <pc:docMk/>
            <pc:sldMk cId="2136892941" sldId="299"/>
            <ac:spMk id="274" creationId="{5D0EDE6C-BA5A-EBF4-A17B-2C16A59BC20A}"/>
          </ac:spMkLst>
        </pc:spChg>
        <pc:spChg chg="add del mod replST">
          <ac:chgData name="Guinn, Sarah" userId="63e3ce5a-fcc6-474a-b3de-375720223e75" providerId="ADAL" clId="{7F46B15F-7C3A-495B-9DE8-2AD650A79A1F}" dt="2023-10-10T16:45:13.900" v="5034"/>
          <ac:spMkLst>
            <pc:docMk/>
            <pc:sldMk cId="2136892941" sldId="299"/>
            <ac:spMk id="275" creationId="{F6DEEB62-FED8-4C8B-B69E-0E1F22A69B14}"/>
          </ac:spMkLst>
        </pc:spChg>
        <pc:spChg chg="add del mod replST">
          <ac:chgData name="Guinn, Sarah" userId="63e3ce5a-fcc6-474a-b3de-375720223e75" providerId="ADAL" clId="{7F46B15F-7C3A-495B-9DE8-2AD650A79A1F}" dt="2023-10-10T16:45:13.902" v="5035"/>
          <ac:spMkLst>
            <pc:docMk/>
            <pc:sldMk cId="2136892941" sldId="299"/>
            <ac:spMk id="276" creationId="{9EB26539-C594-855A-A2ED-EB0967AB7611}"/>
          </ac:spMkLst>
        </pc:spChg>
        <pc:spChg chg="add del mod replST">
          <ac:chgData name="Guinn, Sarah" userId="63e3ce5a-fcc6-474a-b3de-375720223e75" providerId="ADAL" clId="{7F46B15F-7C3A-495B-9DE8-2AD650A79A1F}" dt="2023-10-10T16:45:13.903" v="5036"/>
          <ac:spMkLst>
            <pc:docMk/>
            <pc:sldMk cId="2136892941" sldId="299"/>
            <ac:spMk id="277" creationId="{FDE0F35C-4073-11C3-7084-FBE278B59604}"/>
          </ac:spMkLst>
        </pc:spChg>
        <pc:spChg chg="add del mod replST">
          <ac:chgData name="Guinn, Sarah" userId="63e3ce5a-fcc6-474a-b3de-375720223e75" providerId="ADAL" clId="{7F46B15F-7C3A-495B-9DE8-2AD650A79A1F}" dt="2023-10-10T16:45:13.905" v="5037"/>
          <ac:spMkLst>
            <pc:docMk/>
            <pc:sldMk cId="2136892941" sldId="299"/>
            <ac:spMk id="278" creationId="{0320FF3C-62B8-C2B4-9471-02A07083E901}"/>
          </ac:spMkLst>
        </pc:spChg>
        <pc:spChg chg="add del mod replST">
          <ac:chgData name="Guinn, Sarah" userId="63e3ce5a-fcc6-474a-b3de-375720223e75" providerId="ADAL" clId="{7F46B15F-7C3A-495B-9DE8-2AD650A79A1F}" dt="2023-10-10T16:45:13.906" v="5038"/>
          <ac:spMkLst>
            <pc:docMk/>
            <pc:sldMk cId="2136892941" sldId="299"/>
            <ac:spMk id="279" creationId="{587AA61F-5E98-D444-B24A-EA9E822DB3B8}"/>
          </ac:spMkLst>
        </pc:spChg>
        <pc:spChg chg="add del mod replST">
          <ac:chgData name="Guinn, Sarah" userId="63e3ce5a-fcc6-474a-b3de-375720223e75" providerId="ADAL" clId="{7F46B15F-7C3A-495B-9DE8-2AD650A79A1F}" dt="2023-10-10T16:45:13.908" v="5039"/>
          <ac:spMkLst>
            <pc:docMk/>
            <pc:sldMk cId="2136892941" sldId="299"/>
            <ac:spMk id="280" creationId="{E33BD469-764A-ECF6-1FE7-578D1EF62EE7}"/>
          </ac:spMkLst>
        </pc:spChg>
        <pc:spChg chg="add del mod replST">
          <ac:chgData name="Guinn, Sarah" userId="63e3ce5a-fcc6-474a-b3de-375720223e75" providerId="ADAL" clId="{7F46B15F-7C3A-495B-9DE8-2AD650A79A1F}" dt="2023-10-10T16:45:13.909" v="5040"/>
          <ac:spMkLst>
            <pc:docMk/>
            <pc:sldMk cId="2136892941" sldId="299"/>
            <ac:spMk id="281" creationId="{021BABC2-7872-2D66-9386-B6E521CC14DF}"/>
          </ac:spMkLst>
        </pc:spChg>
        <pc:spChg chg="add del mod replST">
          <ac:chgData name="Guinn, Sarah" userId="63e3ce5a-fcc6-474a-b3de-375720223e75" providerId="ADAL" clId="{7F46B15F-7C3A-495B-9DE8-2AD650A79A1F}" dt="2023-10-10T16:45:13.911" v="5041"/>
          <ac:spMkLst>
            <pc:docMk/>
            <pc:sldMk cId="2136892941" sldId="299"/>
            <ac:spMk id="282" creationId="{578BFAA2-C0B3-EE93-FC8E-37FB0CE49440}"/>
          </ac:spMkLst>
        </pc:spChg>
        <pc:spChg chg="add del mod replST">
          <ac:chgData name="Guinn, Sarah" userId="63e3ce5a-fcc6-474a-b3de-375720223e75" providerId="ADAL" clId="{7F46B15F-7C3A-495B-9DE8-2AD650A79A1F}" dt="2023-10-10T16:45:13.913" v="5042"/>
          <ac:spMkLst>
            <pc:docMk/>
            <pc:sldMk cId="2136892941" sldId="299"/>
            <ac:spMk id="283" creationId="{105414DD-8C3A-66A5-204C-5340D3597B65}"/>
          </ac:spMkLst>
        </pc:spChg>
        <pc:spChg chg="add del mod replST">
          <ac:chgData name="Guinn, Sarah" userId="63e3ce5a-fcc6-474a-b3de-375720223e75" providerId="ADAL" clId="{7F46B15F-7C3A-495B-9DE8-2AD650A79A1F}" dt="2023-10-10T16:45:13.916" v="5043"/>
          <ac:spMkLst>
            <pc:docMk/>
            <pc:sldMk cId="2136892941" sldId="299"/>
            <ac:spMk id="284" creationId="{8BD57C71-D451-EBB0-6D33-A5ED0D59F67E}"/>
          </ac:spMkLst>
        </pc:spChg>
        <pc:spChg chg="add del mod replST">
          <ac:chgData name="Guinn, Sarah" userId="63e3ce5a-fcc6-474a-b3de-375720223e75" providerId="ADAL" clId="{7F46B15F-7C3A-495B-9DE8-2AD650A79A1F}" dt="2023-10-10T16:45:13.919" v="5044"/>
          <ac:spMkLst>
            <pc:docMk/>
            <pc:sldMk cId="2136892941" sldId="299"/>
            <ac:spMk id="285" creationId="{CA8CA282-788F-CC6D-E5D9-F4939258BEB7}"/>
          </ac:spMkLst>
        </pc:spChg>
        <pc:spChg chg="add del mod replST">
          <ac:chgData name="Guinn, Sarah" userId="63e3ce5a-fcc6-474a-b3de-375720223e75" providerId="ADAL" clId="{7F46B15F-7C3A-495B-9DE8-2AD650A79A1F}" dt="2023-10-10T16:45:13.921" v="5045"/>
          <ac:spMkLst>
            <pc:docMk/>
            <pc:sldMk cId="2136892941" sldId="299"/>
            <ac:spMk id="286" creationId="{8C875337-8EBA-449F-C601-1AB31B42CB22}"/>
          </ac:spMkLst>
        </pc:spChg>
        <pc:spChg chg="add del mod replST">
          <ac:chgData name="Guinn, Sarah" userId="63e3ce5a-fcc6-474a-b3de-375720223e75" providerId="ADAL" clId="{7F46B15F-7C3A-495B-9DE8-2AD650A79A1F}" dt="2023-10-10T16:45:13.923" v="5046"/>
          <ac:spMkLst>
            <pc:docMk/>
            <pc:sldMk cId="2136892941" sldId="299"/>
            <ac:spMk id="287" creationId="{2513BE69-2D5C-0548-1D0C-D1629F34BDD0}"/>
          </ac:spMkLst>
        </pc:spChg>
        <pc:spChg chg="add del mod replST">
          <ac:chgData name="Guinn, Sarah" userId="63e3ce5a-fcc6-474a-b3de-375720223e75" providerId="ADAL" clId="{7F46B15F-7C3A-495B-9DE8-2AD650A79A1F}" dt="2023-10-10T16:45:13.926" v="5047"/>
          <ac:spMkLst>
            <pc:docMk/>
            <pc:sldMk cId="2136892941" sldId="299"/>
            <ac:spMk id="288" creationId="{9614ACC7-39B4-5A3C-71B0-2951816F5707}"/>
          </ac:spMkLst>
        </pc:spChg>
        <pc:spChg chg="add del mod replST">
          <ac:chgData name="Guinn, Sarah" userId="63e3ce5a-fcc6-474a-b3de-375720223e75" providerId="ADAL" clId="{7F46B15F-7C3A-495B-9DE8-2AD650A79A1F}" dt="2023-10-10T16:45:13.929" v="5048"/>
          <ac:spMkLst>
            <pc:docMk/>
            <pc:sldMk cId="2136892941" sldId="299"/>
            <ac:spMk id="289" creationId="{10331CA6-952D-89D2-29D6-1528273485E2}"/>
          </ac:spMkLst>
        </pc:spChg>
        <pc:spChg chg="add del mod replST">
          <ac:chgData name="Guinn, Sarah" userId="63e3ce5a-fcc6-474a-b3de-375720223e75" providerId="ADAL" clId="{7F46B15F-7C3A-495B-9DE8-2AD650A79A1F}" dt="2023-10-10T16:45:13.932" v="5049"/>
          <ac:spMkLst>
            <pc:docMk/>
            <pc:sldMk cId="2136892941" sldId="299"/>
            <ac:spMk id="290" creationId="{3FECA58D-DFDB-2743-C0C4-A01A0BAF0820}"/>
          </ac:spMkLst>
        </pc:spChg>
        <pc:spChg chg="add del mod replST">
          <ac:chgData name="Guinn, Sarah" userId="63e3ce5a-fcc6-474a-b3de-375720223e75" providerId="ADAL" clId="{7F46B15F-7C3A-495B-9DE8-2AD650A79A1F}" dt="2023-10-10T16:45:13.935" v="5050"/>
          <ac:spMkLst>
            <pc:docMk/>
            <pc:sldMk cId="2136892941" sldId="299"/>
            <ac:spMk id="291" creationId="{E7F59EE3-DBB1-DEA8-1FC7-DA1DCC0E057E}"/>
          </ac:spMkLst>
        </pc:spChg>
        <pc:spChg chg="add del mod replST">
          <ac:chgData name="Guinn, Sarah" userId="63e3ce5a-fcc6-474a-b3de-375720223e75" providerId="ADAL" clId="{7F46B15F-7C3A-495B-9DE8-2AD650A79A1F}" dt="2023-10-10T16:45:13.938" v="5051"/>
          <ac:spMkLst>
            <pc:docMk/>
            <pc:sldMk cId="2136892941" sldId="299"/>
            <ac:spMk id="292" creationId="{2FCC082B-7D8E-D73A-89F5-B46E9124B6FA}"/>
          </ac:spMkLst>
        </pc:spChg>
        <pc:spChg chg="add del mod replST">
          <ac:chgData name="Guinn, Sarah" userId="63e3ce5a-fcc6-474a-b3de-375720223e75" providerId="ADAL" clId="{7F46B15F-7C3A-495B-9DE8-2AD650A79A1F}" dt="2023-10-10T16:45:13.941" v="5052"/>
          <ac:spMkLst>
            <pc:docMk/>
            <pc:sldMk cId="2136892941" sldId="299"/>
            <ac:spMk id="293" creationId="{92760AB1-546A-BBF9-916B-54E91D5B8E5C}"/>
          </ac:spMkLst>
        </pc:spChg>
        <pc:spChg chg="add del mod modVis">
          <ac:chgData name="Guinn, Sarah" userId="63e3ce5a-fcc6-474a-b3de-375720223e75" providerId="ADAL" clId="{7F46B15F-7C3A-495B-9DE8-2AD650A79A1F}" dt="2023-10-10T16:45:14.055" v="5075"/>
          <ac:spMkLst>
            <pc:docMk/>
            <pc:sldMk cId="2136892941" sldId="299"/>
            <ac:spMk id="295" creationId="{843EC1F1-6499-B82E-E783-A67062ECB25F}"/>
          </ac:spMkLst>
        </pc:spChg>
        <pc:spChg chg="add del mod modVis">
          <ac:chgData name="Guinn, Sarah" userId="63e3ce5a-fcc6-474a-b3de-375720223e75" providerId="ADAL" clId="{7F46B15F-7C3A-495B-9DE8-2AD650A79A1F}" dt="2023-10-10T16:45:18.971" v="5146"/>
          <ac:spMkLst>
            <pc:docMk/>
            <pc:sldMk cId="2136892941" sldId="299"/>
            <ac:spMk id="297" creationId="{E8BDD8FB-AE47-BAC1-6F2C-355DDF3C9275}"/>
          </ac:spMkLst>
        </pc:spChg>
        <pc:graphicFrameChg chg="add del mod replST">
          <ac:chgData name="Guinn, Sarah" userId="63e3ce5a-fcc6-474a-b3de-375720223e75" providerId="ADAL" clId="{7F46B15F-7C3A-495B-9DE8-2AD650A79A1F}" dt="2023-10-10T16:43:22.967" v="431"/>
          <ac:graphicFrameMkLst>
            <pc:docMk/>
            <pc:sldMk cId="2136892941" sldId="299"/>
            <ac:graphicFrameMk id="3" creationId="{FBC3EFE5-945E-842F-6479-9912495CE087}"/>
          </ac:graphicFrameMkLst>
        </pc:graphicFrameChg>
        <pc:graphicFrameChg chg="mod">
          <ac:chgData name="Guinn, Sarah" userId="63e3ce5a-fcc6-474a-b3de-375720223e75" providerId="ADAL" clId="{7F46B15F-7C3A-495B-9DE8-2AD650A79A1F}" dt="2023-10-10T16:45:59.655" v="5290"/>
          <ac:graphicFrameMkLst>
            <pc:docMk/>
            <pc:sldMk cId="2136892941" sldId="299"/>
            <ac:graphicFrameMk id="19" creationId="{325A9422-4AF2-6509-439E-B9984AAE940F}"/>
          </ac:graphicFrameMkLst>
        </pc:graphicFrameChg>
        <pc:graphicFrameChg chg="add mod replST delST">
          <ac:chgData name="Guinn, Sarah" userId="63e3ce5a-fcc6-474a-b3de-375720223e75" providerId="ADAL" clId="{7F46B15F-7C3A-495B-9DE8-2AD650A79A1F}" dt="2023-10-10T16:43:22.967" v="431"/>
          <ac:graphicFrameMkLst>
            <pc:docMk/>
            <pc:sldMk cId="2136892941" sldId="299"/>
            <ac:graphicFrameMk id="26" creationId="{37912B2A-4458-CE59-8E4F-334871F175E1}"/>
          </ac:graphicFrameMkLst>
        </pc:graphicFrameChg>
        <pc:graphicFrameChg chg="add del mod replST">
          <ac:chgData name="Guinn, Sarah" userId="63e3ce5a-fcc6-474a-b3de-375720223e75" providerId="ADAL" clId="{7F46B15F-7C3A-495B-9DE8-2AD650A79A1F}" dt="2023-10-10T16:44:29.403" v="630"/>
          <ac:graphicFrameMkLst>
            <pc:docMk/>
            <pc:sldMk cId="2136892941" sldId="299"/>
            <ac:graphicFrameMk id="28" creationId="{D5A57D3C-81AA-E9D3-DFEA-686E16DE3EE9}"/>
          </ac:graphicFrameMkLst>
        </pc:graphicFrameChg>
        <pc:graphicFrameChg chg="add del mod replST">
          <ac:chgData name="Guinn, Sarah" userId="63e3ce5a-fcc6-474a-b3de-375720223e75" providerId="ADAL" clId="{7F46B15F-7C3A-495B-9DE8-2AD650A79A1F}" dt="2023-10-10T16:44:35.577" v="1648"/>
          <ac:graphicFrameMkLst>
            <pc:docMk/>
            <pc:sldMk cId="2136892941" sldId="299"/>
            <ac:graphicFrameMk id="30" creationId="{441FF45B-00F9-5923-58FE-D3EEB852F594}"/>
          </ac:graphicFrameMkLst>
        </pc:graphicFrameChg>
        <pc:graphicFrameChg chg="add del mod replST">
          <ac:chgData name="Guinn, Sarah" userId="63e3ce5a-fcc6-474a-b3de-375720223e75" providerId="ADAL" clId="{7F46B15F-7C3A-495B-9DE8-2AD650A79A1F}" dt="2023-10-10T16:44:48.323" v="2058"/>
          <ac:graphicFrameMkLst>
            <pc:docMk/>
            <pc:sldMk cId="2136892941" sldId="299"/>
            <ac:graphicFrameMk id="65" creationId="{2B550AE6-2A1C-F545-4099-600F74B55379}"/>
          </ac:graphicFrameMkLst>
        </pc:graphicFrameChg>
        <pc:graphicFrameChg chg="add del mod replST">
          <ac:chgData name="Guinn, Sarah" userId="63e3ce5a-fcc6-474a-b3de-375720223e75" providerId="ADAL" clId="{7F46B15F-7C3A-495B-9DE8-2AD650A79A1F}" dt="2023-10-10T16:44:49.565" v="2132"/>
          <ac:graphicFrameMkLst>
            <pc:docMk/>
            <pc:sldMk cId="2136892941" sldId="299"/>
            <ac:graphicFrameMk id="67" creationId="{149C8A7F-B767-EE3C-F31A-CB921122776F}"/>
          </ac:graphicFrameMkLst>
        </pc:graphicFrameChg>
        <pc:graphicFrameChg chg="add del mod replST">
          <ac:chgData name="Guinn, Sarah" userId="63e3ce5a-fcc6-474a-b3de-375720223e75" providerId="ADAL" clId="{7F46B15F-7C3A-495B-9DE8-2AD650A79A1F}" dt="2023-10-10T16:44:52.778" v="2215"/>
          <ac:graphicFrameMkLst>
            <pc:docMk/>
            <pc:sldMk cId="2136892941" sldId="299"/>
            <ac:graphicFrameMk id="69" creationId="{796917EB-128E-3297-125A-DA15F62F5C0A}"/>
          </ac:graphicFrameMkLst>
        </pc:graphicFrameChg>
        <pc:graphicFrameChg chg="add del mod replST">
          <ac:chgData name="Guinn, Sarah" userId="63e3ce5a-fcc6-474a-b3de-375720223e75" providerId="ADAL" clId="{7F46B15F-7C3A-495B-9DE8-2AD650A79A1F}" dt="2023-10-10T16:44:54.028" v="2292"/>
          <ac:graphicFrameMkLst>
            <pc:docMk/>
            <pc:sldMk cId="2136892941" sldId="299"/>
            <ac:graphicFrameMk id="71" creationId="{5DB0E1A8-FFA6-C625-9ED5-A990EB393494}"/>
          </ac:graphicFrameMkLst>
        </pc:graphicFrameChg>
        <pc:graphicFrameChg chg="add del mod replST">
          <ac:chgData name="Guinn, Sarah" userId="63e3ce5a-fcc6-474a-b3de-375720223e75" providerId="ADAL" clId="{7F46B15F-7C3A-495B-9DE8-2AD650A79A1F}" dt="2023-10-10T16:44:55.357" v="2367"/>
          <ac:graphicFrameMkLst>
            <pc:docMk/>
            <pc:sldMk cId="2136892941" sldId="299"/>
            <ac:graphicFrameMk id="73" creationId="{0A40F09B-23D1-FCEF-145D-15ECA8C9C005}"/>
          </ac:graphicFrameMkLst>
        </pc:graphicFrameChg>
        <pc:graphicFrameChg chg="add del mod replST">
          <ac:chgData name="Guinn, Sarah" userId="63e3ce5a-fcc6-474a-b3de-375720223e75" providerId="ADAL" clId="{7F46B15F-7C3A-495B-9DE8-2AD650A79A1F}" dt="2023-10-10T16:45:00.774" v="3387"/>
          <ac:graphicFrameMkLst>
            <pc:docMk/>
            <pc:sldMk cId="2136892941" sldId="299"/>
            <ac:graphicFrameMk id="75" creationId="{E73B4D39-A3EA-8A77-1DA3-C2F23F8EBA70}"/>
          </ac:graphicFrameMkLst>
        </pc:graphicFrameChg>
        <pc:graphicFrameChg chg="del mod">
          <ac:chgData name="Guinn, Sarah" userId="63e3ce5a-fcc6-474a-b3de-375720223e75" providerId="ADAL" clId="{7F46B15F-7C3A-495B-9DE8-2AD650A79A1F}" dt="2023-10-10T16:43:53.241" v="519"/>
          <ac:graphicFrameMkLst>
            <pc:docMk/>
            <pc:sldMk cId="2136892941" sldId="299"/>
            <ac:graphicFrameMk id="77" creationId="{253F4B11-0F77-6FE7-683F-F0F841C68492}"/>
          </ac:graphicFrameMkLst>
        </pc:graphicFrameChg>
        <pc:graphicFrameChg chg="add del mod replST">
          <ac:chgData name="Guinn, Sarah" userId="63e3ce5a-fcc6-474a-b3de-375720223e75" providerId="ADAL" clId="{7F46B15F-7C3A-495B-9DE8-2AD650A79A1F}" dt="2023-10-10T16:44:36.788" v="1780"/>
          <ac:graphicFrameMkLst>
            <pc:docMk/>
            <pc:sldMk cId="2136892941" sldId="299"/>
            <ac:graphicFrameMk id="249" creationId="{1D2E086E-D3CB-A88E-AA65-1A56E4A8186F}"/>
          </ac:graphicFrameMkLst>
        </pc:graphicFrameChg>
        <pc:graphicFrameChg chg="add del mod replST">
          <ac:chgData name="Guinn, Sarah" userId="63e3ce5a-fcc6-474a-b3de-375720223e75" providerId="ADAL" clId="{7F46B15F-7C3A-495B-9DE8-2AD650A79A1F}" dt="2023-10-10T16:44:41.382" v="1895"/>
          <ac:graphicFrameMkLst>
            <pc:docMk/>
            <pc:sldMk cId="2136892941" sldId="299"/>
            <ac:graphicFrameMk id="251" creationId="{2A7A6161-C2BF-9582-C218-44CF9EDE1318}"/>
          </ac:graphicFrameMkLst>
        </pc:graphicFrameChg>
        <pc:graphicFrameChg chg="add del mod replST">
          <ac:chgData name="Guinn, Sarah" userId="63e3ce5a-fcc6-474a-b3de-375720223e75" providerId="ADAL" clId="{7F46B15F-7C3A-495B-9DE8-2AD650A79A1F}" dt="2023-10-10T16:44:47.713" v="1984"/>
          <ac:graphicFrameMkLst>
            <pc:docMk/>
            <pc:sldMk cId="2136892941" sldId="299"/>
            <ac:graphicFrameMk id="254" creationId="{765B98FD-3347-30F9-0719-F64B1E219B68}"/>
          </ac:graphicFrameMkLst>
        </pc:graphicFrameChg>
        <pc:graphicFrameChg chg="add del mod replST">
          <ac:chgData name="Guinn, Sarah" userId="63e3ce5a-fcc6-474a-b3de-375720223e75" providerId="ADAL" clId="{7F46B15F-7C3A-495B-9DE8-2AD650A79A1F}" dt="2023-10-10T16:45:02.389" v="3521"/>
          <ac:graphicFrameMkLst>
            <pc:docMk/>
            <pc:sldMk cId="2136892941" sldId="299"/>
            <ac:graphicFrameMk id="259" creationId="{26DBDAD2-A2C0-58D1-C10A-CF08DFCC7B86}"/>
          </ac:graphicFrameMkLst>
        </pc:graphicFrameChg>
        <pc:graphicFrameChg chg="add del mod replST">
          <ac:chgData name="Guinn, Sarah" userId="63e3ce5a-fcc6-474a-b3de-375720223e75" providerId="ADAL" clId="{7F46B15F-7C3A-495B-9DE8-2AD650A79A1F}" dt="2023-10-10T16:45:05.402" v="3595"/>
          <ac:graphicFrameMkLst>
            <pc:docMk/>
            <pc:sldMk cId="2136892941" sldId="299"/>
            <ac:graphicFrameMk id="261" creationId="{0CF1D528-0C47-0930-1092-9A30C9580669}"/>
          </ac:graphicFrameMkLst>
        </pc:graphicFrameChg>
        <pc:graphicFrameChg chg="add del mod replST">
          <ac:chgData name="Guinn, Sarah" userId="63e3ce5a-fcc6-474a-b3de-375720223e75" providerId="ADAL" clId="{7F46B15F-7C3A-495B-9DE8-2AD650A79A1F}" dt="2023-10-10T16:45:06.187" v="3671"/>
          <ac:graphicFrameMkLst>
            <pc:docMk/>
            <pc:sldMk cId="2136892941" sldId="299"/>
            <ac:graphicFrameMk id="263" creationId="{E153809C-2C2F-2141-0EA1-5E419B96E7E0}"/>
          </ac:graphicFrameMkLst>
        </pc:graphicFrameChg>
        <pc:graphicFrameChg chg="add del mod replST">
          <ac:chgData name="Guinn, Sarah" userId="63e3ce5a-fcc6-474a-b3de-375720223e75" providerId="ADAL" clId="{7F46B15F-7C3A-495B-9DE8-2AD650A79A1F}" dt="2023-10-10T16:45:07.020" v="3747"/>
          <ac:graphicFrameMkLst>
            <pc:docMk/>
            <pc:sldMk cId="2136892941" sldId="299"/>
            <ac:graphicFrameMk id="265" creationId="{31124961-6FDE-87F7-5B90-3F1E8BA60791}"/>
          </ac:graphicFrameMkLst>
        </pc:graphicFrameChg>
        <pc:graphicFrameChg chg="add del mod replST">
          <ac:chgData name="Guinn, Sarah" userId="63e3ce5a-fcc6-474a-b3de-375720223e75" providerId="ADAL" clId="{7F46B15F-7C3A-495B-9DE8-2AD650A79A1F}" dt="2023-10-10T16:45:08.580" v="3824"/>
          <ac:graphicFrameMkLst>
            <pc:docMk/>
            <pc:sldMk cId="2136892941" sldId="299"/>
            <ac:graphicFrameMk id="267" creationId="{971D35C0-5C3C-CB3E-68BF-EC2EE62F358D}"/>
          </ac:graphicFrameMkLst>
        </pc:graphicFrameChg>
        <pc:graphicFrameChg chg="add del mod replST">
          <ac:chgData name="Guinn, Sarah" userId="63e3ce5a-fcc6-474a-b3de-375720223e75" providerId="ADAL" clId="{7F46B15F-7C3A-495B-9DE8-2AD650A79A1F}" dt="2023-10-10T16:45:09.906" v="3900"/>
          <ac:graphicFrameMkLst>
            <pc:docMk/>
            <pc:sldMk cId="2136892941" sldId="299"/>
            <ac:graphicFrameMk id="269" creationId="{53054299-227E-E31E-1E42-6C9F8EF3793C}"/>
          </ac:graphicFrameMkLst>
        </pc:graphicFrameChg>
        <pc:graphicFrameChg chg="add del mod replST">
          <ac:chgData name="Guinn, Sarah" userId="63e3ce5a-fcc6-474a-b3de-375720223e75" providerId="ADAL" clId="{7F46B15F-7C3A-495B-9DE8-2AD650A79A1F}" dt="2023-10-10T16:45:13.253" v="4920"/>
          <ac:graphicFrameMkLst>
            <pc:docMk/>
            <pc:sldMk cId="2136892941" sldId="299"/>
            <ac:graphicFrameMk id="271" creationId="{7E190762-9B77-761E-E841-15F100423193}"/>
          </ac:graphicFrameMkLst>
        </pc:graphicFrameChg>
        <pc:graphicFrameChg chg="add del mod replST">
          <ac:chgData name="Guinn, Sarah" userId="63e3ce5a-fcc6-474a-b3de-375720223e75" providerId="ADAL" clId="{7F46B15F-7C3A-495B-9DE8-2AD650A79A1F}" dt="2023-10-10T16:45:13.954" v="5054"/>
          <ac:graphicFrameMkLst>
            <pc:docMk/>
            <pc:sldMk cId="2136892941" sldId="299"/>
            <ac:graphicFrameMk id="294" creationId="{3AE1726A-1535-3E2C-99C5-2A8D755A3E41}"/>
          </ac:graphicFrameMkLst>
        </pc:graphicFrameChg>
        <pc:graphicFrameChg chg="add del mod replST">
          <ac:chgData name="Guinn, Sarah" userId="63e3ce5a-fcc6-474a-b3de-375720223e75" providerId="ADAL" clId="{7F46B15F-7C3A-495B-9DE8-2AD650A79A1F}" dt="2023-10-10T16:45:18.927" v="5125"/>
          <ac:graphicFrameMkLst>
            <pc:docMk/>
            <pc:sldMk cId="2136892941" sldId="299"/>
            <ac:graphicFrameMk id="296" creationId="{26FD7AA2-DC4A-F555-3337-3A9F40A0A8CA}"/>
          </ac:graphicFrameMkLst>
        </pc:graphicFrameChg>
        <pc:graphicFrameChg chg="add del mod replST">
          <ac:chgData name="Guinn, Sarah" userId="63e3ce5a-fcc6-474a-b3de-375720223e75" providerId="ADAL" clId="{7F46B15F-7C3A-495B-9DE8-2AD650A79A1F}" dt="2023-10-10T16:45:22.580" v="5155"/>
          <ac:graphicFrameMkLst>
            <pc:docMk/>
            <pc:sldMk cId="2136892941" sldId="299"/>
            <ac:graphicFrameMk id="298" creationId="{4DBE580E-A904-37E4-0935-6114561D4008}"/>
          </ac:graphicFrameMkLst>
        </pc:graphicFrameChg>
        <pc:graphicFrameChg chg="add del mod replST">
          <ac:chgData name="Guinn, Sarah" userId="63e3ce5a-fcc6-474a-b3de-375720223e75" providerId="ADAL" clId="{7F46B15F-7C3A-495B-9DE8-2AD650A79A1F}" dt="2023-10-10T16:45:29.987" v="5189"/>
          <ac:graphicFrameMkLst>
            <pc:docMk/>
            <pc:sldMk cId="2136892941" sldId="299"/>
            <ac:graphicFrameMk id="299" creationId="{FA2DBEC0-C29B-D74E-999A-4970B5B0BE24}"/>
          </ac:graphicFrameMkLst>
        </pc:graphicFrameChg>
        <pc:graphicFrameChg chg="add del mod replST">
          <ac:chgData name="Guinn, Sarah" userId="63e3ce5a-fcc6-474a-b3de-375720223e75" providerId="ADAL" clId="{7F46B15F-7C3A-495B-9DE8-2AD650A79A1F}" dt="2023-10-10T16:45:45.636" v="5229"/>
          <ac:graphicFrameMkLst>
            <pc:docMk/>
            <pc:sldMk cId="2136892941" sldId="299"/>
            <ac:graphicFrameMk id="300" creationId="{DC94BE82-956E-4783-FB1F-8CB644E8955D}"/>
          </ac:graphicFrameMkLst>
        </pc:graphicFrameChg>
        <pc:graphicFrameChg chg="add del mod replST">
          <ac:chgData name="Guinn, Sarah" userId="63e3ce5a-fcc6-474a-b3de-375720223e75" providerId="ADAL" clId="{7F46B15F-7C3A-495B-9DE8-2AD650A79A1F}" dt="2023-10-10T16:45:59.615" v="5269"/>
          <ac:graphicFrameMkLst>
            <pc:docMk/>
            <pc:sldMk cId="2136892941" sldId="299"/>
            <ac:graphicFrameMk id="301" creationId="{21618B96-FB14-C455-FB7E-3ADA8E9AA68B}"/>
          </ac:graphicFrameMkLst>
        </pc:graphicFrameChg>
        <pc:graphicFrameChg chg="add mod replST">
          <ac:chgData name="Guinn, Sarah" userId="63e3ce5a-fcc6-474a-b3de-375720223e75" providerId="ADAL" clId="{7F46B15F-7C3A-495B-9DE8-2AD650A79A1F}" dt="2023-10-10T16:45:59.647" v="5280"/>
          <ac:graphicFrameMkLst>
            <pc:docMk/>
            <pc:sldMk cId="2136892941" sldId="299"/>
            <ac:graphicFrameMk id="302" creationId="{76C88421-B071-0011-82F1-BF1EFEF7040D}"/>
          </ac:graphicFrameMkLst>
        </pc:graphicFrameChg>
        <pc:cxnChg chg="add mod ord replST">
          <ac:chgData name="Guinn, Sarah" userId="63e3ce5a-fcc6-474a-b3de-375720223e75" providerId="ADAL" clId="{7F46B15F-7C3A-495B-9DE8-2AD650A79A1F}" dt="2023-10-10T16:43:22.967" v="431"/>
          <ac:cxnSpMkLst>
            <pc:docMk/>
            <pc:sldMk cId="2136892941" sldId="299"/>
            <ac:cxnSpMk id="6" creationId="{9394BE92-FA55-BCF3-3306-E6CE9E314F55}"/>
          </ac:cxnSpMkLst>
        </pc:cxnChg>
        <pc:cxnChg chg="add mod ord replST">
          <ac:chgData name="Guinn, Sarah" userId="63e3ce5a-fcc6-474a-b3de-375720223e75" providerId="ADAL" clId="{7F46B15F-7C3A-495B-9DE8-2AD650A79A1F}" dt="2023-10-10T16:43:22.967" v="431"/>
          <ac:cxnSpMkLst>
            <pc:docMk/>
            <pc:sldMk cId="2136892941" sldId="299"/>
            <ac:cxnSpMk id="12" creationId="{C06C1CBF-7AA8-F870-9F41-8EF6F5DF8697}"/>
          </ac:cxnSpMkLst>
        </pc:cxnChg>
        <pc:cxnChg chg="add mod ord replST">
          <ac:chgData name="Guinn, Sarah" userId="63e3ce5a-fcc6-474a-b3de-375720223e75" providerId="ADAL" clId="{7F46B15F-7C3A-495B-9DE8-2AD650A79A1F}" dt="2023-10-10T16:43:22.967" v="431"/>
          <ac:cxnSpMkLst>
            <pc:docMk/>
            <pc:sldMk cId="2136892941" sldId="299"/>
            <ac:cxnSpMk id="13" creationId="{8FB68CA2-3DE0-F358-C801-9C5E3FFCFF37}"/>
          </ac:cxnSpMkLst>
        </pc:cxnChg>
        <pc:cxnChg chg="add mod ord replST">
          <ac:chgData name="Guinn, Sarah" userId="63e3ce5a-fcc6-474a-b3de-375720223e75" providerId="ADAL" clId="{7F46B15F-7C3A-495B-9DE8-2AD650A79A1F}" dt="2023-10-10T16:43:22.967" v="431"/>
          <ac:cxnSpMkLst>
            <pc:docMk/>
            <pc:sldMk cId="2136892941" sldId="299"/>
            <ac:cxnSpMk id="14" creationId="{F8816E02-83D2-38B6-418B-5950076C9EEA}"/>
          </ac:cxnSpMkLst>
        </pc:cxnChg>
        <pc:cxnChg chg="mod ord">
          <ac:chgData name="Guinn, Sarah" userId="63e3ce5a-fcc6-474a-b3de-375720223e75" providerId="ADAL" clId="{7F46B15F-7C3A-495B-9DE8-2AD650A79A1F}" dt="2023-10-10T16:45:59.648" v="5282"/>
          <ac:cxnSpMkLst>
            <pc:docMk/>
            <pc:sldMk cId="2136892941" sldId="299"/>
            <ac:cxnSpMk id="16" creationId="{D47B7B70-458F-AC48-6666-42987B0A107A}"/>
          </ac:cxnSpMkLst>
        </pc:cxnChg>
        <pc:cxnChg chg="del mod ord">
          <ac:chgData name="Guinn, Sarah" userId="63e3ce5a-fcc6-474a-b3de-375720223e75" providerId="ADAL" clId="{7F46B15F-7C3A-495B-9DE8-2AD650A79A1F}" dt="2023-10-10T16:43:53.141" v="439"/>
          <ac:cxnSpMkLst>
            <pc:docMk/>
            <pc:sldMk cId="2136892941" sldId="299"/>
            <ac:cxnSpMk id="241" creationId="{86B51F30-2A2F-4861-497C-11B0190A7164}"/>
          </ac:cxnSpMkLst>
        </pc:cxnChg>
        <pc:cxnChg chg="del mod ord">
          <ac:chgData name="Guinn, Sarah" userId="63e3ce5a-fcc6-474a-b3de-375720223e75" providerId="ADAL" clId="{7F46B15F-7C3A-495B-9DE8-2AD650A79A1F}" dt="2023-10-10T16:43:53.137" v="435"/>
          <ac:cxnSpMkLst>
            <pc:docMk/>
            <pc:sldMk cId="2136892941" sldId="299"/>
            <ac:cxnSpMk id="248" creationId="{BB4A4AFD-0693-1ABE-76DB-D3C5119E49DA}"/>
          </ac:cxnSpMkLst>
        </pc:cxnChg>
        <pc:cxnChg chg="del mod ord">
          <ac:chgData name="Guinn, Sarah" userId="63e3ce5a-fcc6-474a-b3de-375720223e75" providerId="ADAL" clId="{7F46B15F-7C3A-495B-9DE8-2AD650A79A1F}" dt="2023-10-10T16:43:53.142" v="442"/>
          <ac:cxnSpMkLst>
            <pc:docMk/>
            <pc:sldMk cId="2136892941" sldId="299"/>
            <ac:cxnSpMk id="255" creationId="{AB48C4A7-1328-F1EC-9220-73A351E30351}"/>
          </ac:cxnSpMkLst>
        </pc:cxnChg>
      </pc:sldChg>
    </pc:docChg>
  </pc:docChgLst>
  <pc:docChgLst>
    <pc:chgData name="Beck, Katherine" userId="S::katherine.beck@tea.texas.gov::e1e04e99-76be-457d-a1b4-1c90ae9d9561" providerId="AD" clId="Web-{9617D8AC-C4AC-2E44-EE7B-DE7468C4CE5D}"/>
    <pc:docChg chg="modSld">
      <pc:chgData name="Beck, Katherine" userId="S::katherine.beck@tea.texas.gov::e1e04e99-76be-457d-a1b4-1c90ae9d9561" providerId="AD" clId="Web-{9617D8AC-C4AC-2E44-EE7B-DE7468C4CE5D}" dt="2023-10-27T20:16:34.801" v="0" actId="1076"/>
      <pc:docMkLst>
        <pc:docMk/>
      </pc:docMkLst>
      <pc:sldChg chg="modSp">
        <pc:chgData name="Beck, Katherine" userId="S::katherine.beck@tea.texas.gov::e1e04e99-76be-457d-a1b4-1c90ae9d9561" providerId="AD" clId="Web-{9617D8AC-C4AC-2E44-EE7B-DE7468C4CE5D}" dt="2023-10-27T20:16:34.801" v="0" actId="1076"/>
        <pc:sldMkLst>
          <pc:docMk/>
          <pc:sldMk cId="3596081720" sldId="281"/>
        </pc:sldMkLst>
        <pc:spChg chg="mod">
          <ac:chgData name="Beck, Katherine" userId="S::katherine.beck@tea.texas.gov::e1e04e99-76be-457d-a1b4-1c90ae9d9561" providerId="AD" clId="Web-{9617D8AC-C4AC-2E44-EE7B-DE7468C4CE5D}" dt="2023-10-27T20:16:34.801" v="0" actId="1076"/>
          <ac:spMkLst>
            <pc:docMk/>
            <pc:sldMk cId="3596081720" sldId="281"/>
            <ac:spMk id="13" creationId="{1EDDD3C0-FB96-3102-1017-953197D516EA}"/>
          </ac:spMkLst>
        </pc:spChg>
      </pc:sldChg>
    </pc:docChg>
  </pc:docChgLst>
  <pc:docChgLst>
    <pc:chgData name="Beck, Katherine" userId="e1e04e99-76be-457d-a1b4-1c90ae9d9561" providerId="ADAL" clId="{C9ADE62C-C1BB-4BA5-A484-B691D2C6147A}"/>
    <pc:docChg chg="undo redo custSel modSld">
      <pc:chgData name="Beck, Katherine" userId="e1e04e99-76be-457d-a1b4-1c90ae9d9561" providerId="ADAL" clId="{C9ADE62C-C1BB-4BA5-A484-B691D2C6147A}" dt="2023-10-27T19:12:17.648" v="18" actId="1076"/>
      <pc:docMkLst>
        <pc:docMk/>
      </pc:docMkLst>
      <pc:sldChg chg="modSp mod">
        <pc:chgData name="Beck, Katherine" userId="e1e04e99-76be-457d-a1b4-1c90ae9d9561" providerId="ADAL" clId="{C9ADE62C-C1BB-4BA5-A484-B691D2C6147A}" dt="2023-10-27T19:12:17.648" v="18" actId="1076"/>
        <pc:sldMkLst>
          <pc:docMk/>
          <pc:sldMk cId="1944486448" sldId="283"/>
        </pc:sldMkLst>
        <pc:picChg chg="mod modCrop">
          <ac:chgData name="Beck, Katherine" userId="e1e04e99-76be-457d-a1b4-1c90ae9d9561" providerId="ADAL" clId="{C9ADE62C-C1BB-4BA5-A484-B691D2C6147A}" dt="2023-10-27T19:12:17.648" v="18" actId="1076"/>
          <ac:picMkLst>
            <pc:docMk/>
            <pc:sldMk cId="1944486448" sldId="283"/>
            <ac:picMk id="3" creationId="{76644C88-F46A-2572-3DC0-7F244D2ECF1C}"/>
          </ac:picMkLst>
        </pc:picChg>
        <pc:picChg chg="mod ord">
          <ac:chgData name="Beck, Katherine" userId="e1e04e99-76be-457d-a1b4-1c90ae9d9561" providerId="ADAL" clId="{C9ADE62C-C1BB-4BA5-A484-B691D2C6147A}" dt="2023-10-27T19:12:15.329" v="16" actId="14100"/>
          <ac:picMkLst>
            <pc:docMk/>
            <pc:sldMk cId="1944486448" sldId="283"/>
            <ac:picMk id="7" creationId="{4EF9BED1-42E5-B258-F1B4-D21A8B39E0DA}"/>
          </ac:picMkLst>
        </pc:picChg>
      </pc:sldChg>
    </pc:docChg>
  </pc:docChgLst>
  <pc:docChgLst>
    <pc:chgData name="Beck, Katherine" userId="S::katherine.beck@tea.texas.gov::e1e04e99-76be-457d-a1b4-1c90ae9d9561" providerId="AD" clId="Web-{BDAEDFA8-8A06-06C3-C222-C2A15A657EBD}"/>
    <pc:docChg chg="modSld">
      <pc:chgData name="Beck, Katherine" userId="S::katherine.beck@tea.texas.gov::e1e04e99-76be-457d-a1b4-1c90ae9d9561" providerId="AD" clId="Web-{BDAEDFA8-8A06-06C3-C222-C2A15A657EBD}" dt="2023-10-27T20:15:47.543" v="28"/>
      <pc:docMkLst>
        <pc:docMk/>
      </pc:docMkLst>
      <pc:sldChg chg="addSp modSp">
        <pc:chgData name="Beck, Katherine" userId="S::katherine.beck@tea.texas.gov::e1e04e99-76be-457d-a1b4-1c90ae9d9561" providerId="AD" clId="Web-{BDAEDFA8-8A06-06C3-C222-C2A15A657EBD}" dt="2023-10-27T20:15:47.543" v="28"/>
        <pc:sldMkLst>
          <pc:docMk/>
          <pc:sldMk cId="3596081720" sldId="281"/>
        </pc:sldMkLst>
        <pc:spChg chg="add mod ord">
          <ac:chgData name="Beck, Katherine" userId="S::katherine.beck@tea.texas.gov::e1e04e99-76be-457d-a1b4-1c90ae9d9561" providerId="AD" clId="Web-{BDAEDFA8-8A06-06C3-C222-C2A15A657EBD}" dt="2023-10-27T20:15:47.543" v="28"/>
          <ac:spMkLst>
            <pc:docMk/>
            <pc:sldMk cId="3596081720" sldId="281"/>
            <ac:spMk id="6" creationId="{67459A51-0741-3271-D638-4A78E6C67B72}"/>
          </ac:spMkLst>
        </pc:spChg>
        <pc:spChg chg="mod">
          <ac:chgData name="Beck, Katherine" userId="S::katherine.beck@tea.texas.gov::e1e04e99-76be-457d-a1b4-1c90ae9d9561" providerId="AD" clId="Web-{BDAEDFA8-8A06-06C3-C222-C2A15A657EBD}" dt="2023-10-27T20:14:13.650" v="13" actId="14100"/>
          <ac:spMkLst>
            <pc:docMk/>
            <pc:sldMk cId="3596081720" sldId="281"/>
            <ac:spMk id="8" creationId="{EBCE41F8-E5B5-DC7D-9B17-15236DC85FA9}"/>
          </ac:spMkLst>
        </pc:spChg>
        <pc:spChg chg="mod">
          <ac:chgData name="Beck, Katherine" userId="S::katherine.beck@tea.texas.gov::e1e04e99-76be-457d-a1b4-1c90ae9d9561" providerId="AD" clId="Web-{BDAEDFA8-8A06-06C3-C222-C2A15A657EBD}" dt="2023-10-27T20:15:16.448" v="23" actId="1076"/>
          <ac:spMkLst>
            <pc:docMk/>
            <pc:sldMk cId="3596081720" sldId="281"/>
            <ac:spMk id="9" creationId="{92AF312C-20E7-CE82-FC84-7A64BF559307}"/>
          </ac:spMkLst>
        </pc:spChg>
        <pc:spChg chg="mod">
          <ac:chgData name="Beck, Katherine" userId="S::katherine.beck@tea.texas.gov::e1e04e99-76be-457d-a1b4-1c90ae9d9561" providerId="AD" clId="Web-{BDAEDFA8-8A06-06C3-C222-C2A15A657EBD}" dt="2023-10-27T20:15:21.245" v="24" actId="1076"/>
          <ac:spMkLst>
            <pc:docMk/>
            <pc:sldMk cId="3596081720" sldId="281"/>
            <ac:spMk id="10" creationId="{B62CA142-05D9-69CD-4140-9C11BC4E2A41}"/>
          </ac:spMkLst>
        </pc:spChg>
        <pc:cxnChg chg="ord">
          <ac:chgData name="Beck, Katherine" userId="S::katherine.beck@tea.texas.gov::e1e04e99-76be-457d-a1b4-1c90ae9d9561" providerId="AD" clId="Web-{BDAEDFA8-8A06-06C3-C222-C2A15A657EBD}" dt="2023-10-27T20:15:40.308" v="27"/>
          <ac:cxnSpMkLst>
            <pc:docMk/>
            <pc:sldMk cId="3596081720" sldId="281"/>
            <ac:cxnSpMk id="5" creationId="{3C526C1D-0D46-6557-2913-5350F9EBF0DD}"/>
          </ac:cxnSpMkLst>
        </pc:cxnChg>
      </pc:sldChg>
    </pc:docChg>
  </pc:docChgLst>
  <pc:docChgLst>
    <pc:chgData name="Tian, Iris" userId="S::iris.tian@tea.texas.gov::3a26a5fd-4e1b-43a0-894e-6aa7fc051075" providerId="AD" clId="Web-{46ED5B58-12B7-C7C9-D181-C7742002640D}"/>
    <pc:docChg chg="">
      <pc:chgData name="Tian, Iris" userId="S::iris.tian@tea.texas.gov::3a26a5fd-4e1b-43a0-894e-6aa7fc051075" providerId="AD" clId="Web-{46ED5B58-12B7-C7C9-D181-C7742002640D}" dt="2023-08-24T19:34:24.553" v="0"/>
      <pc:docMkLst>
        <pc:docMk/>
      </pc:docMkLst>
      <pc:sldChg chg="modCm">
        <pc:chgData name="Tian, Iris" userId="S::iris.tian@tea.texas.gov::3a26a5fd-4e1b-43a0-894e-6aa7fc051075" providerId="AD" clId="Web-{46ED5B58-12B7-C7C9-D181-C7742002640D}" dt="2023-08-24T19:34:24.553" v="0"/>
        <pc:sldMkLst>
          <pc:docMk/>
          <pc:sldMk cId="1813183265" sldId="297"/>
        </pc:sldMkLst>
      </pc:sldChg>
    </pc:docChg>
  </pc:docChgLst>
  <pc:docChgLst>
    <pc:chgData name="Tian, Iris" userId="S::iris.tian@tea.texas.gov::3a26a5fd-4e1b-43a0-894e-6aa7fc051075" providerId="AD" clId="Web-{648243AB-0BFC-D696-CB04-213973B289A0}"/>
    <pc:docChg chg="modSld">
      <pc:chgData name="Tian, Iris" userId="S::iris.tian@tea.texas.gov::3a26a5fd-4e1b-43a0-894e-6aa7fc051075" providerId="AD" clId="Web-{648243AB-0BFC-D696-CB04-213973B289A0}" dt="2023-08-25T15:39:52.017" v="0" actId="1076"/>
      <pc:docMkLst>
        <pc:docMk/>
      </pc:docMkLst>
      <pc:sldChg chg="modSp">
        <pc:chgData name="Tian, Iris" userId="S::iris.tian@tea.texas.gov::3a26a5fd-4e1b-43a0-894e-6aa7fc051075" providerId="AD" clId="Web-{648243AB-0BFC-D696-CB04-213973B289A0}" dt="2023-08-25T15:39:52.017" v="0" actId="1076"/>
        <pc:sldMkLst>
          <pc:docMk/>
          <pc:sldMk cId="1148755483" sldId="294"/>
        </pc:sldMkLst>
        <pc:spChg chg="mod">
          <ac:chgData name="Tian, Iris" userId="S::iris.tian@tea.texas.gov::3a26a5fd-4e1b-43a0-894e-6aa7fc051075" providerId="AD" clId="Web-{648243AB-0BFC-D696-CB04-213973B289A0}" dt="2023-08-25T15:39:52.017" v="0" actId="1076"/>
          <ac:spMkLst>
            <pc:docMk/>
            <pc:sldMk cId="1148755483" sldId="294"/>
            <ac:spMk id="3" creationId="{AB17E4F5-09F4-F7AC-32C3-42DCB3F37244}"/>
          </ac:spMkLst>
        </pc:spChg>
      </pc:sldChg>
    </pc:docChg>
  </pc:docChgLst>
  <pc:docChgLst>
    <pc:chgData name="Beck, Katherine" userId="e1e04e99-76be-457d-a1b4-1c90ae9d9561" providerId="ADAL" clId="{08D0F248-2094-42BF-8F33-4371B3AF6B8B}"/>
    <pc:docChg chg="undo custSel addSld delSld modSld">
      <pc:chgData name="Beck, Katherine" userId="e1e04e99-76be-457d-a1b4-1c90ae9d9561" providerId="ADAL" clId="{08D0F248-2094-42BF-8F33-4371B3AF6B8B}" dt="2023-08-18T22:01:39.363" v="914" actId="20577"/>
      <pc:docMkLst>
        <pc:docMk/>
      </pc:docMkLst>
      <pc:sldChg chg="addSp delSp modSp mod">
        <pc:chgData name="Beck, Katherine" userId="e1e04e99-76be-457d-a1b4-1c90ae9d9561" providerId="ADAL" clId="{08D0F248-2094-42BF-8F33-4371B3AF6B8B}" dt="2023-08-18T22:01:39.363" v="914" actId="20577"/>
        <pc:sldMkLst>
          <pc:docMk/>
          <pc:sldMk cId="349678021" sldId="295"/>
        </pc:sldMkLst>
        <pc:spChg chg="mod">
          <ac:chgData name="Beck, Katherine" userId="e1e04e99-76be-457d-a1b4-1c90ae9d9561" providerId="ADAL" clId="{08D0F248-2094-42BF-8F33-4371B3AF6B8B}" dt="2023-08-18T21:45:43.673" v="239" actId="20577"/>
          <ac:spMkLst>
            <pc:docMk/>
            <pc:sldMk cId="349678021" sldId="295"/>
            <ac:spMk id="2" creationId="{E34B1989-BB2F-9EBC-F22D-A54D94E0D7A2}"/>
          </ac:spMkLst>
        </pc:spChg>
        <pc:spChg chg="del">
          <ac:chgData name="Beck, Katherine" userId="e1e04e99-76be-457d-a1b4-1c90ae9d9561" providerId="ADAL" clId="{08D0F248-2094-42BF-8F33-4371B3AF6B8B}" dt="2023-08-18T21:37:07.751" v="0"/>
          <ac:spMkLst>
            <pc:docMk/>
            <pc:sldMk cId="349678021" sldId="295"/>
            <ac:spMk id="3" creationId="{83AED3D3-A037-C907-29FE-8B0BA3C61B50}"/>
          </ac:spMkLst>
        </pc:spChg>
        <pc:spChg chg="add mod">
          <ac:chgData name="Beck, Katherine" userId="e1e04e99-76be-457d-a1b4-1c90ae9d9561" providerId="ADAL" clId="{08D0F248-2094-42BF-8F33-4371B3AF6B8B}" dt="2023-08-18T22:01:39.363" v="914" actId="20577"/>
          <ac:spMkLst>
            <pc:docMk/>
            <pc:sldMk cId="349678021" sldId="295"/>
            <ac:spMk id="4" creationId="{34028033-A41C-C362-505D-0CCFDE53566F}"/>
          </ac:spMkLst>
        </pc:spChg>
        <pc:spChg chg="add mod">
          <ac:chgData name="Beck, Katherine" userId="e1e04e99-76be-457d-a1b4-1c90ae9d9561" providerId="ADAL" clId="{08D0F248-2094-42BF-8F33-4371B3AF6B8B}" dt="2023-08-18T21:42:02.098" v="153" actId="14100"/>
          <ac:spMkLst>
            <pc:docMk/>
            <pc:sldMk cId="349678021" sldId="295"/>
            <ac:spMk id="9" creationId="{DC706C97-473E-356D-DD44-F5A4D5AD6C03}"/>
          </ac:spMkLst>
        </pc:spChg>
        <pc:spChg chg="add mod">
          <ac:chgData name="Beck, Katherine" userId="e1e04e99-76be-457d-a1b4-1c90ae9d9561" providerId="ADAL" clId="{08D0F248-2094-42BF-8F33-4371B3AF6B8B}" dt="2023-08-18T21:39:23.122" v="94" actId="404"/>
          <ac:spMkLst>
            <pc:docMk/>
            <pc:sldMk cId="349678021" sldId="295"/>
            <ac:spMk id="10" creationId="{11091D59-C543-E2B8-AD59-F24B309F4A8D}"/>
          </ac:spMkLst>
        </pc:spChg>
        <pc:spChg chg="add mod">
          <ac:chgData name="Beck, Katherine" userId="e1e04e99-76be-457d-a1b4-1c90ae9d9561" providerId="ADAL" clId="{08D0F248-2094-42BF-8F33-4371B3AF6B8B}" dt="2023-08-18T21:40:23.108" v="106" actId="14100"/>
          <ac:spMkLst>
            <pc:docMk/>
            <pc:sldMk cId="349678021" sldId="295"/>
            <ac:spMk id="11" creationId="{4E761838-7C46-FCD3-7195-002828C08E67}"/>
          </ac:spMkLst>
        </pc:spChg>
        <pc:spChg chg="add mod">
          <ac:chgData name="Beck, Katherine" userId="e1e04e99-76be-457d-a1b4-1c90ae9d9561" providerId="ADAL" clId="{08D0F248-2094-42BF-8F33-4371B3AF6B8B}" dt="2023-08-18T21:39:16.734" v="92" actId="20577"/>
          <ac:spMkLst>
            <pc:docMk/>
            <pc:sldMk cId="349678021" sldId="295"/>
            <ac:spMk id="12" creationId="{4635D7F3-2082-765B-E5FC-437C680F78E5}"/>
          </ac:spMkLst>
        </pc:spChg>
        <pc:spChg chg="add mod">
          <ac:chgData name="Beck, Katherine" userId="e1e04e99-76be-457d-a1b4-1c90ae9d9561" providerId="ADAL" clId="{08D0F248-2094-42BF-8F33-4371B3AF6B8B}" dt="2023-08-18T21:42:18.278" v="155" actId="14100"/>
          <ac:spMkLst>
            <pc:docMk/>
            <pc:sldMk cId="349678021" sldId="295"/>
            <ac:spMk id="16" creationId="{975773DE-9FC2-5C73-6DBD-0722B7B9D51A}"/>
          </ac:spMkLst>
        </pc:spChg>
        <pc:spChg chg="add mod">
          <ac:chgData name="Beck, Katherine" userId="e1e04e99-76be-457d-a1b4-1c90ae9d9561" providerId="ADAL" clId="{08D0F248-2094-42BF-8F33-4371B3AF6B8B}" dt="2023-08-18T21:41:25.637" v="145" actId="14100"/>
          <ac:spMkLst>
            <pc:docMk/>
            <pc:sldMk cId="349678021" sldId="295"/>
            <ac:spMk id="17" creationId="{1B2E9731-3819-D872-6B04-026C19D8C420}"/>
          </ac:spMkLst>
        </pc:spChg>
        <pc:grpChg chg="add mod">
          <ac:chgData name="Beck, Katherine" userId="e1e04e99-76be-457d-a1b4-1c90ae9d9561" providerId="ADAL" clId="{08D0F248-2094-42BF-8F33-4371B3AF6B8B}" dt="2023-08-18T21:39:11.698" v="91" actId="14100"/>
          <ac:grpSpMkLst>
            <pc:docMk/>
            <pc:sldMk cId="349678021" sldId="295"/>
            <ac:grpSpMk id="5" creationId="{0BF86E95-80F8-45D3-829E-977A08BFB272}"/>
          </ac:grpSpMkLst>
        </pc:grpChg>
        <pc:picChg chg="add mod">
          <ac:chgData name="Beck, Katherine" userId="e1e04e99-76be-457d-a1b4-1c90ae9d9561" providerId="ADAL" clId="{08D0F248-2094-42BF-8F33-4371B3AF6B8B}" dt="2023-08-18T21:40:19.887" v="105" actId="14100"/>
          <ac:picMkLst>
            <pc:docMk/>
            <pc:sldMk cId="349678021" sldId="295"/>
            <ac:picMk id="6" creationId="{9FD882A0-C759-27DF-8C6B-399D5DD6368D}"/>
          </ac:picMkLst>
        </pc:picChg>
        <pc:picChg chg="add mod">
          <ac:chgData name="Beck, Katherine" userId="e1e04e99-76be-457d-a1b4-1c90ae9d9561" providerId="ADAL" clId="{08D0F248-2094-42BF-8F33-4371B3AF6B8B}" dt="2023-08-18T21:38:49.687" v="85"/>
          <ac:picMkLst>
            <pc:docMk/>
            <pc:sldMk cId="349678021" sldId="295"/>
            <ac:picMk id="7" creationId="{29B74137-EDB7-9579-A3C6-D11A6E1C7890}"/>
          </ac:picMkLst>
        </pc:picChg>
        <pc:picChg chg="add mod">
          <ac:chgData name="Beck, Katherine" userId="e1e04e99-76be-457d-a1b4-1c90ae9d9561" providerId="ADAL" clId="{08D0F248-2094-42BF-8F33-4371B3AF6B8B}" dt="2023-08-18T21:38:49.687" v="85"/>
          <ac:picMkLst>
            <pc:docMk/>
            <pc:sldMk cId="349678021" sldId="295"/>
            <ac:picMk id="8" creationId="{5A951BFE-C78F-B47D-DCFF-E19445C23C82}"/>
          </ac:picMkLst>
        </pc:picChg>
        <pc:picChg chg="add mod">
          <ac:chgData name="Beck, Katherine" userId="e1e04e99-76be-457d-a1b4-1c90ae9d9561" providerId="ADAL" clId="{08D0F248-2094-42BF-8F33-4371B3AF6B8B}" dt="2023-08-18T21:41:57.931" v="152" actId="14100"/>
          <ac:picMkLst>
            <pc:docMk/>
            <pc:sldMk cId="349678021" sldId="295"/>
            <ac:picMk id="13" creationId="{32B7222C-550C-C6EC-D606-DD2C951D5107}"/>
          </ac:picMkLst>
        </pc:picChg>
        <pc:picChg chg="add mod">
          <ac:chgData name="Beck, Katherine" userId="e1e04e99-76be-457d-a1b4-1c90ae9d9561" providerId="ADAL" clId="{08D0F248-2094-42BF-8F33-4371B3AF6B8B}" dt="2023-08-18T21:41:38.300" v="148" actId="1076"/>
          <ac:picMkLst>
            <pc:docMk/>
            <pc:sldMk cId="349678021" sldId="295"/>
            <ac:picMk id="14" creationId="{63D451E5-8220-1C18-D18A-F79EA23A5946}"/>
          </ac:picMkLst>
        </pc:picChg>
        <pc:picChg chg="add mod">
          <ac:chgData name="Beck, Katherine" userId="e1e04e99-76be-457d-a1b4-1c90ae9d9561" providerId="ADAL" clId="{08D0F248-2094-42BF-8F33-4371B3AF6B8B}" dt="2023-08-18T21:41:18.619" v="144" actId="1076"/>
          <ac:picMkLst>
            <pc:docMk/>
            <pc:sldMk cId="349678021" sldId="295"/>
            <ac:picMk id="15" creationId="{2A394373-C35F-B3F2-5819-E2859F373CE0}"/>
          </ac:picMkLst>
        </pc:picChg>
      </pc:sldChg>
      <pc:sldChg chg="addSp delSp modSp add mod">
        <pc:chgData name="Beck, Katherine" userId="e1e04e99-76be-457d-a1b4-1c90ae9d9561" providerId="ADAL" clId="{08D0F248-2094-42BF-8F33-4371B3AF6B8B}" dt="2023-08-18T21:52:34.366" v="525" actId="14"/>
        <pc:sldMkLst>
          <pc:docMk/>
          <pc:sldMk cId="3022864456" sldId="296"/>
        </pc:sldMkLst>
        <pc:spChg chg="mod">
          <ac:chgData name="Beck, Katherine" userId="e1e04e99-76be-457d-a1b4-1c90ae9d9561" providerId="ADAL" clId="{08D0F248-2094-42BF-8F33-4371B3AF6B8B}" dt="2023-08-18T21:52:23.196" v="519" actId="20577"/>
          <ac:spMkLst>
            <pc:docMk/>
            <pc:sldMk cId="3022864456" sldId="296"/>
            <ac:spMk id="2" creationId="{E34B1989-BB2F-9EBC-F22D-A54D94E0D7A2}"/>
          </ac:spMkLst>
        </pc:spChg>
        <pc:spChg chg="add mod">
          <ac:chgData name="Beck, Katherine" userId="e1e04e99-76be-457d-a1b4-1c90ae9d9561" providerId="ADAL" clId="{08D0F248-2094-42BF-8F33-4371B3AF6B8B}" dt="2023-08-18T21:50:28.752" v="413" actId="1076"/>
          <ac:spMkLst>
            <pc:docMk/>
            <pc:sldMk cId="3022864456" sldId="296"/>
            <ac:spMk id="3" creationId="{006FEAF8-4E77-64E3-671A-3F60AD73C4C2}"/>
          </ac:spMkLst>
        </pc:spChg>
        <pc:spChg chg="mod">
          <ac:chgData name="Beck, Katherine" userId="e1e04e99-76be-457d-a1b4-1c90ae9d9561" providerId="ADAL" clId="{08D0F248-2094-42BF-8F33-4371B3AF6B8B}" dt="2023-08-18T21:52:34.366" v="525" actId="14"/>
          <ac:spMkLst>
            <pc:docMk/>
            <pc:sldMk cId="3022864456" sldId="296"/>
            <ac:spMk id="4" creationId="{34028033-A41C-C362-505D-0CCFDE53566F}"/>
          </ac:spMkLst>
        </pc:spChg>
        <pc:grpChg chg="del">
          <ac:chgData name="Beck, Katherine" userId="e1e04e99-76be-457d-a1b4-1c90ae9d9561" providerId="ADAL" clId="{08D0F248-2094-42BF-8F33-4371B3AF6B8B}" dt="2023-08-18T21:48:40.785" v="252" actId="478"/>
          <ac:grpSpMkLst>
            <pc:docMk/>
            <pc:sldMk cId="3022864456" sldId="296"/>
            <ac:grpSpMk id="5" creationId="{0BF86E95-80F8-45D3-829E-977A08BFB272}"/>
          </ac:grpSpMkLst>
        </pc:grpChg>
        <pc:picChg chg="add mod">
          <ac:chgData name="Beck, Katherine" userId="e1e04e99-76be-457d-a1b4-1c90ae9d9561" providerId="ADAL" clId="{08D0F248-2094-42BF-8F33-4371B3AF6B8B}" dt="2023-08-18T21:50:28.752" v="413" actId="1076"/>
          <ac:picMkLst>
            <pc:docMk/>
            <pc:sldMk cId="3022864456" sldId="296"/>
            <ac:picMk id="1026" creationId="{D9A9F55B-5281-6070-6A5B-A13DCAFBA231}"/>
          </ac:picMkLst>
        </pc:picChg>
      </pc:sldChg>
      <pc:sldChg chg="addSp delSp modSp new mod addCm">
        <pc:chgData name="Beck, Katherine" userId="e1e04e99-76be-457d-a1b4-1c90ae9d9561" providerId="ADAL" clId="{08D0F248-2094-42BF-8F33-4371B3AF6B8B}" dt="2023-08-18T22:01:28.552" v="913"/>
        <pc:sldMkLst>
          <pc:docMk/>
          <pc:sldMk cId="1813183265" sldId="297"/>
        </pc:sldMkLst>
        <pc:spChg chg="mod">
          <ac:chgData name="Beck, Katherine" userId="e1e04e99-76be-457d-a1b4-1c90ae9d9561" providerId="ADAL" clId="{08D0F248-2094-42BF-8F33-4371B3AF6B8B}" dt="2023-08-18T21:56:44.197" v="772" actId="20577"/>
          <ac:spMkLst>
            <pc:docMk/>
            <pc:sldMk cId="1813183265" sldId="297"/>
            <ac:spMk id="2" creationId="{D06490A8-2FAB-8E10-83A1-9BC5CF0A36C9}"/>
          </ac:spMkLst>
        </pc:spChg>
        <pc:spChg chg="del">
          <ac:chgData name="Beck, Katherine" userId="e1e04e99-76be-457d-a1b4-1c90ae9d9561" providerId="ADAL" clId="{08D0F248-2094-42BF-8F33-4371B3AF6B8B}" dt="2023-08-18T21:53:51.296" v="529" actId="478"/>
          <ac:spMkLst>
            <pc:docMk/>
            <pc:sldMk cId="1813183265" sldId="297"/>
            <ac:spMk id="3" creationId="{65BD5436-C050-9EAC-BC84-3110141EFAFA}"/>
          </ac:spMkLst>
        </pc:spChg>
        <pc:spChg chg="add mod">
          <ac:chgData name="Beck, Katherine" userId="e1e04e99-76be-457d-a1b4-1c90ae9d9561" providerId="ADAL" clId="{08D0F248-2094-42BF-8F33-4371B3AF6B8B}" dt="2023-08-18T21:53:56.113" v="533"/>
          <ac:spMkLst>
            <pc:docMk/>
            <pc:sldMk cId="1813183265" sldId="297"/>
            <ac:spMk id="6" creationId="{5B6185C0-3E70-ADE0-92C1-76C2221CFA9A}"/>
          </ac:spMkLst>
        </pc:spChg>
        <pc:spChg chg="add mod">
          <ac:chgData name="Beck, Katherine" userId="e1e04e99-76be-457d-a1b4-1c90ae9d9561" providerId="ADAL" clId="{08D0F248-2094-42BF-8F33-4371B3AF6B8B}" dt="2023-08-18T21:53:56.113" v="533"/>
          <ac:spMkLst>
            <pc:docMk/>
            <pc:sldMk cId="1813183265" sldId="297"/>
            <ac:spMk id="7" creationId="{CE2A299B-D2CF-BE98-AF44-58F668412534}"/>
          </ac:spMkLst>
        </pc:spChg>
        <pc:spChg chg="add mod">
          <ac:chgData name="Beck, Katherine" userId="e1e04e99-76be-457d-a1b4-1c90ae9d9561" providerId="ADAL" clId="{08D0F248-2094-42BF-8F33-4371B3AF6B8B}" dt="2023-08-18T22:00:50.135" v="912" actId="20577"/>
          <ac:spMkLst>
            <pc:docMk/>
            <pc:sldMk cId="1813183265" sldId="297"/>
            <ac:spMk id="10" creationId="{5B6185C0-3E70-ADE0-92C1-76C2221CFA9A}"/>
          </ac:spMkLst>
        </pc:spChg>
        <pc:spChg chg="add mod">
          <ac:chgData name="Beck, Katherine" userId="e1e04e99-76be-457d-a1b4-1c90ae9d9561" providerId="ADAL" clId="{08D0F248-2094-42BF-8F33-4371B3AF6B8B}" dt="2023-08-18T21:59:45.503" v="824" actId="207"/>
          <ac:spMkLst>
            <pc:docMk/>
            <pc:sldMk cId="1813183265" sldId="297"/>
            <ac:spMk id="11" creationId="{CE2A299B-D2CF-BE98-AF44-58F668412534}"/>
          </ac:spMkLst>
        </pc:spChg>
        <pc:spChg chg="add mod">
          <ac:chgData name="Beck, Katherine" userId="e1e04e99-76be-457d-a1b4-1c90ae9d9561" providerId="ADAL" clId="{08D0F248-2094-42BF-8F33-4371B3AF6B8B}" dt="2023-08-18T22:00:07" v="829" actId="14100"/>
          <ac:spMkLst>
            <pc:docMk/>
            <pc:sldMk cId="1813183265" sldId="297"/>
            <ac:spMk id="14" creationId="{108A803C-27E3-99DF-F617-E992309BC809}"/>
          </ac:spMkLst>
        </pc:spChg>
        <pc:graphicFrameChg chg="add mod">
          <ac:chgData name="Beck, Katherine" userId="e1e04e99-76be-457d-a1b4-1c90ae9d9561" providerId="ADAL" clId="{08D0F248-2094-42BF-8F33-4371B3AF6B8B}" dt="2023-08-18T21:53:56.113" v="533"/>
          <ac:graphicFrameMkLst>
            <pc:docMk/>
            <pc:sldMk cId="1813183265" sldId="297"/>
            <ac:graphicFrameMk id="4" creationId="{F41AB05B-B679-5CF9-6095-EBE8B443B291}"/>
          </ac:graphicFrameMkLst>
        </pc:graphicFrameChg>
        <pc:graphicFrameChg chg="add mod">
          <ac:chgData name="Beck, Katherine" userId="e1e04e99-76be-457d-a1b4-1c90ae9d9561" providerId="ADAL" clId="{08D0F248-2094-42BF-8F33-4371B3AF6B8B}" dt="2023-08-18T21:53:56.113" v="533"/>
          <ac:graphicFrameMkLst>
            <pc:docMk/>
            <pc:sldMk cId="1813183265" sldId="297"/>
            <ac:graphicFrameMk id="5" creationId="{39DAB4E5-2F1E-DD4E-4AD6-EF2EF10C70AA}"/>
          </ac:graphicFrameMkLst>
        </pc:graphicFrameChg>
        <pc:graphicFrameChg chg="add mod">
          <ac:chgData name="Beck, Katherine" userId="e1e04e99-76be-457d-a1b4-1c90ae9d9561" providerId="ADAL" clId="{08D0F248-2094-42BF-8F33-4371B3AF6B8B}" dt="2023-08-18T21:59:22.884" v="819" actId="403"/>
          <ac:graphicFrameMkLst>
            <pc:docMk/>
            <pc:sldMk cId="1813183265" sldId="297"/>
            <ac:graphicFrameMk id="8" creationId="{F41AB05B-B679-5CF9-6095-EBE8B443B291}"/>
          </ac:graphicFrameMkLst>
        </pc:graphicFrameChg>
        <pc:graphicFrameChg chg="add mod">
          <ac:chgData name="Beck, Katherine" userId="e1e04e99-76be-457d-a1b4-1c90ae9d9561" providerId="ADAL" clId="{08D0F248-2094-42BF-8F33-4371B3AF6B8B}" dt="2023-08-18T21:58:30.980" v="811" actId="207"/>
          <ac:graphicFrameMkLst>
            <pc:docMk/>
            <pc:sldMk cId="1813183265" sldId="297"/>
            <ac:graphicFrameMk id="9" creationId="{39DAB4E5-2F1E-DD4E-4AD6-EF2EF10C70AA}"/>
          </ac:graphicFrameMkLst>
        </pc:graphicFrameChg>
        <pc:graphicFrameChg chg="add mod">
          <ac:chgData name="Beck, Katherine" userId="e1e04e99-76be-457d-a1b4-1c90ae9d9561" providerId="ADAL" clId="{08D0F248-2094-42BF-8F33-4371B3AF6B8B}" dt="2023-08-18T21:56:54.872" v="774"/>
          <ac:graphicFrameMkLst>
            <pc:docMk/>
            <pc:sldMk cId="1813183265" sldId="297"/>
            <ac:graphicFrameMk id="12" creationId="{47AD5C07-52D6-3371-30E1-B9484F38E2FF}"/>
          </ac:graphicFrameMkLst>
        </pc:graphicFrameChg>
        <pc:graphicFrameChg chg="add mod">
          <ac:chgData name="Beck, Katherine" userId="e1e04e99-76be-457d-a1b4-1c90ae9d9561" providerId="ADAL" clId="{08D0F248-2094-42BF-8F33-4371B3AF6B8B}" dt="2023-08-18T21:59:27.052" v="820" actId="403"/>
          <ac:graphicFrameMkLst>
            <pc:docMk/>
            <pc:sldMk cId="1813183265" sldId="297"/>
            <ac:graphicFrameMk id="13" creationId="{47AD5C07-52D6-3371-30E1-B9484F38E2FF}"/>
          </ac:graphicFrameMkLst>
        </pc:graphicFrameChg>
      </pc:sldChg>
      <pc:sldChg chg="add del">
        <pc:chgData name="Beck, Katherine" userId="e1e04e99-76be-457d-a1b4-1c90ae9d9561" providerId="ADAL" clId="{08D0F248-2094-42BF-8F33-4371B3AF6B8B}" dt="2023-08-18T21:53:36.493" v="528"/>
        <pc:sldMkLst>
          <pc:docMk/>
          <pc:sldMk cId="3287264334" sldId="2145707781"/>
        </pc:sldMkLst>
      </pc:sldChg>
      <pc:sldChg chg="add del">
        <pc:chgData name="Beck, Katherine" userId="e1e04e99-76be-457d-a1b4-1c90ae9d9561" providerId="ADAL" clId="{08D0F248-2094-42BF-8F33-4371B3AF6B8B}" dt="2023-08-18T21:53:36.493" v="528"/>
        <pc:sldMkLst>
          <pc:docMk/>
          <pc:sldMk cId="1652987133" sldId="2145707788"/>
        </pc:sldMkLst>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516267860216912E-3"/>
          <c:y val="4.6762589928057555E-2"/>
          <c:w val="0.98209674642795664"/>
          <c:h val="0.90647482014388492"/>
        </c:manualLayout>
      </c:layout>
      <c:barChart>
        <c:barDir val="bar"/>
        <c:grouping val="stacked"/>
        <c:varyColors val="0"/>
        <c:ser>
          <c:idx val="0"/>
          <c:order val="0"/>
          <c:spPr>
            <a:solidFill>
              <a:schemeClr val="accent5"/>
            </a:solidFill>
            <a:ln>
              <a:noFill/>
            </a:ln>
          </c:spPr>
          <c:invertIfNegative val="0"/>
          <c:dLbls>
            <c:dLbl>
              <c:idx val="0"/>
              <c:layout>
                <c:manualLayout>
                  <c:x val="0"/>
                  <c:y val="2.6978417266187052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B3B-463D-B58E-DBA685880C47}"/>
                </c:ext>
              </c:extLst>
            </c:dLbl>
            <c:dLbl>
              <c:idx val="1"/>
              <c:layout>
                <c:manualLayout>
                  <c:x val="0"/>
                  <c:y val="2.6978417266187052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B3B-463D-B58E-DBA685880C4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74</c:v>
                </c:pt>
                <c:pt idx="1">
                  <c:v>36</c:v>
                </c:pt>
              </c:numCache>
            </c:numRef>
          </c:val>
          <c:extLst>
            <c:ext xmlns:c16="http://schemas.microsoft.com/office/drawing/2014/chart" uri="{C3380CC4-5D6E-409C-BE32-E72D297353CC}">
              <c16:uniqueId val="{00000002-4B3B-463D-B58E-DBA685880C47}"/>
            </c:ext>
          </c:extLst>
        </c:ser>
        <c:ser>
          <c:idx val="1"/>
          <c:order val="1"/>
          <c:spPr>
            <a:solidFill>
              <a:schemeClr val="accent4"/>
            </a:solidFill>
            <a:ln>
              <a:noFill/>
            </a:ln>
          </c:spPr>
          <c:invertIfNegative val="0"/>
          <c:dLbls>
            <c:dLbl>
              <c:idx val="0"/>
              <c:layout>
                <c:manualLayout>
                  <c:x val="0"/>
                  <c:y val="2.6978417266187052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B3B-463D-B58E-DBA685880C47}"/>
                </c:ext>
              </c:extLst>
            </c:dLbl>
            <c:dLbl>
              <c:idx val="1"/>
              <c:layout>
                <c:manualLayout>
                  <c:x val="0"/>
                  <c:y val="2.6978417266187052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B3B-463D-B58E-DBA685880C4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9.9999999999999982</c:v>
                </c:pt>
                <c:pt idx="1">
                  <c:v>26</c:v>
                </c:pt>
              </c:numCache>
            </c:numRef>
          </c:val>
          <c:extLst>
            <c:ext xmlns:c16="http://schemas.microsoft.com/office/drawing/2014/chart" uri="{C3380CC4-5D6E-409C-BE32-E72D297353CC}">
              <c16:uniqueId val="{00000005-4B3B-463D-B58E-DBA685880C47}"/>
            </c:ext>
          </c:extLst>
        </c:ser>
        <c:ser>
          <c:idx val="2"/>
          <c:order val="2"/>
          <c:spPr>
            <a:solidFill>
              <a:schemeClr val="accent3"/>
            </a:solidFill>
            <a:ln>
              <a:noFill/>
            </a:ln>
          </c:spPr>
          <c:invertIfNegative val="0"/>
          <c:dLbls>
            <c:dLbl>
              <c:idx val="0"/>
              <c:layout>
                <c:manualLayout>
                  <c:x val="0"/>
                  <c:y val="2.6978417266187052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B3B-463D-B58E-DBA685880C47}"/>
                </c:ext>
              </c:extLst>
            </c:dLbl>
            <c:dLbl>
              <c:idx val="1"/>
              <c:layout>
                <c:manualLayout>
                  <c:x val="0"/>
                  <c:y val="2.6978417266187052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B3B-463D-B58E-DBA685880C4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5.9999999999999947</c:v>
                </c:pt>
                <c:pt idx="1">
                  <c:v>15.000000000000002</c:v>
                </c:pt>
              </c:numCache>
            </c:numRef>
          </c:val>
          <c:extLst>
            <c:ext xmlns:c16="http://schemas.microsoft.com/office/drawing/2014/chart" uri="{C3380CC4-5D6E-409C-BE32-E72D297353CC}">
              <c16:uniqueId val="{00000008-4B3B-463D-B58E-DBA685880C47}"/>
            </c:ext>
          </c:extLst>
        </c:ser>
        <c:ser>
          <c:idx val="3"/>
          <c:order val="3"/>
          <c:spPr>
            <a:solidFill>
              <a:schemeClr val="accent2"/>
            </a:solidFill>
            <a:ln>
              <a:noFill/>
            </a:ln>
          </c:spPr>
          <c:invertIfNegative val="0"/>
          <c:dLbls>
            <c:dLbl>
              <c:idx val="0"/>
              <c:layout>
                <c:manualLayout>
                  <c:x val="0"/>
                  <c:y val="2.6978417266187052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B3B-463D-B58E-DBA685880C47}"/>
                </c:ext>
              </c:extLst>
            </c:dLbl>
            <c:dLbl>
              <c:idx val="1"/>
              <c:layout>
                <c:manualLayout>
                  <c:x val="0"/>
                  <c:y val="2.6978417266187052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B3B-463D-B58E-DBA685880C4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B$4</c:f>
              <c:numCache>
                <c:formatCode>General</c:formatCode>
                <c:ptCount val="2"/>
                <c:pt idx="0">
                  <c:v>6.0000000000000053</c:v>
                </c:pt>
                <c:pt idx="1">
                  <c:v>14.000000000000002</c:v>
                </c:pt>
              </c:numCache>
            </c:numRef>
          </c:val>
          <c:extLst>
            <c:ext xmlns:c16="http://schemas.microsoft.com/office/drawing/2014/chart" uri="{C3380CC4-5D6E-409C-BE32-E72D297353CC}">
              <c16:uniqueId val="{0000000B-4B3B-463D-B58E-DBA685880C47}"/>
            </c:ext>
          </c:extLst>
        </c:ser>
        <c:ser>
          <c:idx val="4"/>
          <c:order val="4"/>
          <c:spPr>
            <a:solidFill>
              <a:schemeClr val="accent1"/>
            </a:solidFill>
            <a:ln>
              <a:noFill/>
            </a:ln>
          </c:spPr>
          <c:invertIfNegative val="0"/>
          <c:dLbls>
            <c:dLbl>
              <c:idx val="0"/>
              <c:layout>
                <c:manualLayout>
                  <c:x val="0"/>
                  <c:y val="2.6978417266187052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B3B-463D-B58E-DBA685880C47}"/>
                </c:ext>
              </c:extLst>
            </c:dLbl>
            <c:dLbl>
              <c:idx val="1"/>
              <c:layout>
                <c:manualLayout>
                  <c:x val="0"/>
                  <c:y val="2.6978417266187052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B3B-463D-B58E-DBA685880C4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B$5</c:f>
              <c:numCache>
                <c:formatCode>General</c:formatCode>
                <c:ptCount val="2"/>
                <c:pt idx="0">
                  <c:v>4.0000000000000036</c:v>
                </c:pt>
                <c:pt idx="1">
                  <c:v>8.9999999999999964</c:v>
                </c:pt>
              </c:numCache>
            </c:numRef>
          </c:val>
          <c:extLst>
            <c:ext xmlns:c16="http://schemas.microsoft.com/office/drawing/2014/chart" uri="{C3380CC4-5D6E-409C-BE32-E72D297353CC}">
              <c16:uniqueId val="{0000000E-4B3B-463D-B58E-DBA685880C47}"/>
            </c:ext>
          </c:extLst>
        </c:ser>
        <c:dLbls>
          <c:showLegendKey val="0"/>
          <c:showVal val="0"/>
          <c:showCatName val="0"/>
          <c:showSerName val="0"/>
          <c:showPercent val="0"/>
          <c:showBubbleSize val="0"/>
        </c:dLbls>
        <c:gapWidth val="80"/>
        <c:overlap val="100"/>
        <c:axId val="1087162832"/>
        <c:axId val="1"/>
      </c:barChart>
      <c:catAx>
        <c:axId val="1087162832"/>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t"/>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1087162832"/>
        <c:crosses val="min"/>
        <c:crossBetween val="between"/>
      </c:valAx>
    </c:plotArea>
    <c:plotVisOnly val="0"/>
    <c:dispBlanksAs val="gap"/>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F0D5E38-04D7-4CC0-AF82-3E5D8CB519DD}" type="datetimeFigureOut">
              <a:rPr lang="en-US" smtClean="0"/>
              <a:t>10/2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E4D9ABE-7AB9-4D3A-BEA5-45E799BD6C0E}" type="slidenum">
              <a:rPr lang="en-US" smtClean="0"/>
              <a:t>‹#›</a:t>
            </a:fld>
            <a:endParaRPr lang="en-US"/>
          </a:p>
        </p:txBody>
      </p:sp>
    </p:spTree>
    <p:extLst>
      <p:ext uri="{BB962C8B-B14F-4D97-AF65-F5344CB8AC3E}">
        <p14:creationId xmlns:p14="http://schemas.microsoft.com/office/powerpoint/2010/main" val="25921768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5_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0033EEE-3823-4FA0-9C86-2F8D1358CA62}"/>
              </a:ext>
            </a:extLst>
          </p:cNvPr>
          <p:cNvSpPr/>
          <p:nvPr userDrawn="1"/>
        </p:nvSpPr>
        <p:spPr>
          <a:xfrm>
            <a:off x="1" y="0"/>
            <a:ext cx="36576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descr="A picture containing text, clipart&#10;&#10;Description automatically generated">
            <a:extLst>
              <a:ext uri="{FF2B5EF4-FFF2-40B4-BE49-F238E27FC236}">
                <a16:creationId xmlns:a16="http://schemas.microsoft.com/office/drawing/2014/main" id="{AC905F65-6FA7-1E3D-2B05-00E808E6411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7603" y="477430"/>
            <a:ext cx="1522396" cy="748511"/>
          </a:xfrm>
          <a:prstGeom prst="rect">
            <a:avLst/>
          </a:prstGeom>
        </p:spPr>
      </p:pic>
      <p:sp>
        <p:nvSpPr>
          <p:cNvPr id="3" name="Rectangle 2">
            <a:extLst>
              <a:ext uri="{FF2B5EF4-FFF2-40B4-BE49-F238E27FC236}">
                <a16:creationId xmlns:a16="http://schemas.microsoft.com/office/drawing/2014/main" id="{D3F9C57B-E1F6-79F7-AC5C-788E1B323D5E}"/>
              </a:ext>
            </a:extLst>
          </p:cNvPr>
          <p:cNvSpPr/>
          <p:nvPr userDrawn="1"/>
        </p:nvSpPr>
        <p:spPr>
          <a:xfrm>
            <a:off x="1989518" y="1785907"/>
            <a:ext cx="8761786" cy="3309643"/>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35F915A-2D65-4403-B6A1-FAFF6BE60787}"/>
              </a:ext>
            </a:extLst>
          </p:cNvPr>
          <p:cNvSpPr>
            <a:spLocks noGrp="1"/>
          </p:cNvSpPr>
          <p:nvPr>
            <p:ph type="ctrTitle"/>
          </p:nvPr>
        </p:nvSpPr>
        <p:spPr>
          <a:xfrm>
            <a:off x="2088059" y="1853242"/>
            <a:ext cx="8593428" cy="1933831"/>
          </a:xfrm>
          <a:noFill/>
          <a:ln>
            <a:noFill/>
          </a:ln>
        </p:spPr>
        <p:txBody>
          <a:bodyPr anchor="b">
            <a:noAutofit/>
          </a:bodyPr>
          <a:lstStyle>
            <a:lvl1pPr algn="l">
              <a:defRPr sz="4800">
                <a:solidFill>
                  <a:schemeClr val="accent1"/>
                </a:solidFill>
                <a:latin typeface="+mn-lt"/>
              </a:defRPr>
            </a:lvl1pPr>
          </a:lstStyle>
          <a:p>
            <a:r>
              <a:rPr lang="en-US"/>
              <a:t>Click to edit Master title style</a:t>
            </a:r>
          </a:p>
        </p:txBody>
      </p:sp>
    </p:spTree>
    <p:extLst>
      <p:ext uri="{BB962C8B-B14F-4D97-AF65-F5344CB8AC3E}">
        <p14:creationId xmlns:p14="http://schemas.microsoft.com/office/powerpoint/2010/main" val="5815323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6_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0033EEE-3823-4FA0-9C86-2F8D1358CA62}"/>
              </a:ext>
            </a:extLst>
          </p:cNvPr>
          <p:cNvSpPr/>
          <p:nvPr userDrawn="1"/>
        </p:nvSpPr>
        <p:spPr>
          <a:xfrm>
            <a:off x="0" y="0"/>
            <a:ext cx="461246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descr="A picture containing text, clipart&#10;&#10;Description automatically generated">
            <a:extLst>
              <a:ext uri="{FF2B5EF4-FFF2-40B4-BE49-F238E27FC236}">
                <a16:creationId xmlns:a16="http://schemas.microsoft.com/office/drawing/2014/main" id="{AC905F65-6FA7-1E3D-2B05-00E808E6411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58747" y="291316"/>
            <a:ext cx="1522396" cy="748511"/>
          </a:xfrm>
          <a:prstGeom prst="rect">
            <a:avLst/>
          </a:prstGeom>
        </p:spPr>
      </p:pic>
      <p:sp>
        <p:nvSpPr>
          <p:cNvPr id="3" name="Rectangle 2">
            <a:extLst>
              <a:ext uri="{FF2B5EF4-FFF2-40B4-BE49-F238E27FC236}">
                <a16:creationId xmlns:a16="http://schemas.microsoft.com/office/drawing/2014/main" id="{D3F9C57B-E1F6-79F7-AC5C-788E1B323D5E}"/>
              </a:ext>
            </a:extLst>
          </p:cNvPr>
          <p:cNvSpPr/>
          <p:nvPr userDrawn="1"/>
        </p:nvSpPr>
        <p:spPr>
          <a:xfrm>
            <a:off x="1458747" y="2640026"/>
            <a:ext cx="9594143" cy="1577947"/>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35F915A-2D65-4403-B6A1-FAFF6BE60787}"/>
              </a:ext>
            </a:extLst>
          </p:cNvPr>
          <p:cNvSpPr>
            <a:spLocks noGrp="1"/>
          </p:cNvSpPr>
          <p:nvPr>
            <p:ph type="ctrTitle"/>
          </p:nvPr>
        </p:nvSpPr>
        <p:spPr>
          <a:xfrm>
            <a:off x="1562595" y="2712855"/>
            <a:ext cx="9386446" cy="1100516"/>
          </a:xfrm>
          <a:noFill/>
          <a:ln>
            <a:noFill/>
          </a:ln>
        </p:spPr>
        <p:txBody>
          <a:bodyPr anchor="b">
            <a:noAutofit/>
          </a:bodyPr>
          <a:lstStyle>
            <a:lvl1pPr algn="l">
              <a:defRPr sz="4800">
                <a:solidFill>
                  <a:schemeClr val="accent1"/>
                </a:solidFill>
                <a:latin typeface="+mn-lt"/>
              </a:defRPr>
            </a:lvl1pPr>
          </a:lstStyle>
          <a:p>
            <a:r>
              <a:rPr lang="en-US"/>
              <a:t>Click to edit Master title style</a:t>
            </a:r>
          </a:p>
        </p:txBody>
      </p:sp>
    </p:spTree>
    <p:extLst>
      <p:ext uri="{BB962C8B-B14F-4D97-AF65-F5344CB8AC3E}">
        <p14:creationId xmlns:p14="http://schemas.microsoft.com/office/powerpoint/2010/main" val="23165646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2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1"/>
            <a:ext cx="12192000" cy="912244"/>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85469" y="160894"/>
            <a:ext cx="10250362" cy="751350"/>
          </a:xfrm>
        </p:spPr>
        <p:txBody>
          <a:bodyPr>
            <a:normAutofit/>
          </a:bodyPr>
          <a:lstStyle>
            <a:lvl1pPr algn="l">
              <a:defRPr sz="3600" b="0">
                <a:solidFill>
                  <a:schemeClr val="bg1"/>
                </a:solidFill>
                <a:latin typeface="+mj-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85468" y="1496253"/>
            <a:ext cx="11544581"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pic>
        <p:nvPicPr>
          <p:cNvPr id="14" name="Picture 13" descr="A picture containing text, clipart&#10;&#10;Description automatically generated">
            <a:extLst>
              <a:ext uri="{FF2B5EF4-FFF2-40B4-BE49-F238E27FC236}">
                <a16:creationId xmlns:a16="http://schemas.microsoft.com/office/drawing/2014/main" id="{884B3B1F-4F78-A294-A0CE-5F5AE936FF2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9517" y="196872"/>
            <a:ext cx="1147014" cy="563948"/>
          </a:xfrm>
          <a:prstGeom prst="rect">
            <a:avLst/>
          </a:prstGeom>
        </p:spPr>
      </p:pic>
      <p:sp>
        <p:nvSpPr>
          <p:cNvPr id="15" name="Rectangle 14">
            <a:extLst>
              <a:ext uri="{FF2B5EF4-FFF2-40B4-BE49-F238E27FC236}">
                <a16:creationId xmlns:a16="http://schemas.microsoft.com/office/drawing/2014/main" id="{C0FB76E9-1736-B93D-989B-940BFDA11D1C}"/>
              </a:ext>
            </a:extLst>
          </p:cNvPr>
          <p:cNvSpPr/>
          <p:nvPr userDrawn="1"/>
        </p:nvSpPr>
        <p:spPr>
          <a:xfrm>
            <a:off x="0" y="964690"/>
            <a:ext cx="12192000" cy="45719"/>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Tree>
    <p:extLst>
      <p:ext uri="{BB962C8B-B14F-4D97-AF65-F5344CB8AC3E}">
        <p14:creationId xmlns:p14="http://schemas.microsoft.com/office/powerpoint/2010/main" val="13722253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9_Title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F7851E3-CE49-FDB1-C050-C3A2F6823661}"/>
              </a:ext>
            </a:extLst>
          </p:cNvPr>
          <p:cNvSpPr/>
          <p:nvPr userDrawn="1"/>
        </p:nvSpPr>
        <p:spPr>
          <a:xfrm>
            <a:off x="2689391" y="0"/>
            <a:ext cx="9264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1" y="-1"/>
            <a:ext cx="2624654"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descr="A picture containing text, clipart&#10;&#10;Description automatically generated">
            <a:extLst>
              <a:ext uri="{FF2B5EF4-FFF2-40B4-BE49-F238E27FC236}">
                <a16:creationId xmlns:a16="http://schemas.microsoft.com/office/drawing/2014/main" id="{AC905F65-6FA7-1E3D-2B05-00E808E6411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4912" y="149364"/>
            <a:ext cx="1274831" cy="626791"/>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p:nvPr>
        </p:nvSpPr>
        <p:spPr>
          <a:xfrm>
            <a:off x="2985961" y="149364"/>
            <a:ext cx="8647949" cy="679730"/>
          </a:xfrm>
          <a:noFill/>
          <a:ln>
            <a:noFill/>
          </a:ln>
        </p:spPr>
        <p:txBody>
          <a:bodyPr anchor="b">
            <a:noAutofit/>
          </a:bodyPr>
          <a:lstStyle>
            <a:lvl1pPr algn="l">
              <a:defRPr sz="4000">
                <a:solidFill>
                  <a:schemeClr val="accent1"/>
                </a:solidFill>
                <a:latin typeface="+mn-lt"/>
              </a:defRPr>
            </a:lvl1pPr>
          </a:lstStyle>
          <a:p>
            <a:r>
              <a:rPr lang="en-US"/>
              <a:t>Click to edit Master title style</a:t>
            </a:r>
          </a:p>
        </p:txBody>
      </p:sp>
    </p:spTree>
    <p:extLst>
      <p:ext uri="{BB962C8B-B14F-4D97-AF65-F5344CB8AC3E}">
        <p14:creationId xmlns:p14="http://schemas.microsoft.com/office/powerpoint/2010/main" val="10209580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5_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0033EEE-3823-4FA0-9C86-2F8D1358CA62}"/>
              </a:ext>
            </a:extLst>
          </p:cNvPr>
          <p:cNvSpPr/>
          <p:nvPr userDrawn="1"/>
        </p:nvSpPr>
        <p:spPr>
          <a:xfrm>
            <a:off x="1" y="0"/>
            <a:ext cx="36576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descr="A picture containing text, clipart&#10;&#10;Description automatically generated">
            <a:extLst>
              <a:ext uri="{FF2B5EF4-FFF2-40B4-BE49-F238E27FC236}">
                <a16:creationId xmlns:a16="http://schemas.microsoft.com/office/drawing/2014/main" id="{AC905F65-6FA7-1E3D-2B05-00E808E6411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7603" y="477430"/>
            <a:ext cx="1522396" cy="748511"/>
          </a:xfrm>
          <a:prstGeom prst="rect">
            <a:avLst/>
          </a:prstGeom>
        </p:spPr>
      </p:pic>
      <p:sp>
        <p:nvSpPr>
          <p:cNvPr id="3" name="Rectangle 2">
            <a:extLst>
              <a:ext uri="{FF2B5EF4-FFF2-40B4-BE49-F238E27FC236}">
                <a16:creationId xmlns:a16="http://schemas.microsoft.com/office/drawing/2014/main" id="{D3F9C57B-E1F6-79F7-AC5C-788E1B323D5E}"/>
              </a:ext>
            </a:extLst>
          </p:cNvPr>
          <p:cNvSpPr/>
          <p:nvPr userDrawn="1"/>
        </p:nvSpPr>
        <p:spPr>
          <a:xfrm>
            <a:off x="1989518" y="1785907"/>
            <a:ext cx="8761786" cy="3309643"/>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35F915A-2D65-4403-B6A1-FAFF6BE60787}"/>
              </a:ext>
            </a:extLst>
          </p:cNvPr>
          <p:cNvSpPr>
            <a:spLocks noGrp="1"/>
          </p:cNvSpPr>
          <p:nvPr>
            <p:ph type="ctrTitle"/>
          </p:nvPr>
        </p:nvSpPr>
        <p:spPr>
          <a:xfrm>
            <a:off x="2088059" y="1853242"/>
            <a:ext cx="8593428" cy="1933831"/>
          </a:xfrm>
          <a:noFill/>
          <a:ln>
            <a:noFill/>
          </a:ln>
        </p:spPr>
        <p:txBody>
          <a:bodyPr anchor="b">
            <a:noAutofit/>
          </a:bodyPr>
          <a:lstStyle>
            <a:lvl1pPr algn="l">
              <a:defRPr sz="4800">
                <a:solidFill>
                  <a:schemeClr val="accent1"/>
                </a:solidFill>
                <a:latin typeface="+mn-lt"/>
              </a:defRPr>
            </a:lvl1pPr>
          </a:lstStyle>
          <a:p>
            <a:r>
              <a:rPr lang="en-US"/>
              <a:t>Click to edit Master title style</a:t>
            </a:r>
          </a:p>
        </p:txBody>
      </p:sp>
    </p:spTree>
    <p:extLst>
      <p:ext uri="{BB962C8B-B14F-4D97-AF65-F5344CB8AC3E}">
        <p14:creationId xmlns:p14="http://schemas.microsoft.com/office/powerpoint/2010/main" val="5815323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6_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0033EEE-3823-4FA0-9C86-2F8D1358CA62}"/>
              </a:ext>
            </a:extLst>
          </p:cNvPr>
          <p:cNvSpPr/>
          <p:nvPr userDrawn="1"/>
        </p:nvSpPr>
        <p:spPr>
          <a:xfrm>
            <a:off x="0" y="0"/>
            <a:ext cx="461246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descr="A picture containing text, clipart&#10;&#10;Description automatically generated">
            <a:extLst>
              <a:ext uri="{FF2B5EF4-FFF2-40B4-BE49-F238E27FC236}">
                <a16:creationId xmlns:a16="http://schemas.microsoft.com/office/drawing/2014/main" id="{AC905F65-6FA7-1E3D-2B05-00E808E6411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58747" y="291316"/>
            <a:ext cx="1522396" cy="748511"/>
          </a:xfrm>
          <a:prstGeom prst="rect">
            <a:avLst/>
          </a:prstGeom>
        </p:spPr>
      </p:pic>
      <p:sp>
        <p:nvSpPr>
          <p:cNvPr id="3" name="Rectangle 2">
            <a:extLst>
              <a:ext uri="{FF2B5EF4-FFF2-40B4-BE49-F238E27FC236}">
                <a16:creationId xmlns:a16="http://schemas.microsoft.com/office/drawing/2014/main" id="{D3F9C57B-E1F6-79F7-AC5C-788E1B323D5E}"/>
              </a:ext>
            </a:extLst>
          </p:cNvPr>
          <p:cNvSpPr/>
          <p:nvPr userDrawn="1"/>
        </p:nvSpPr>
        <p:spPr>
          <a:xfrm>
            <a:off x="1458747" y="2640026"/>
            <a:ext cx="9594143" cy="1577947"/>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35F915A-2D65-4403-B6A1-FAFF6BE60787}"/>
              </a:ext>
            </a:extLst>
          </p:cNvPr>
          <p:cNvSpPr>
            <a:spLocks noGrp="1"/>
          </p:cNvSpPr>
          <p:nvPr>
            <p:ph type="ctrTitle"/>
          </p:nvPr>
        </p:nvSpPr>
        <p:spPr>
          <a:xfrm>
            <a:off x="1562595" y="2712855"/>
            <a:ext cx="9386446" cy="1100516"/>
          </a:xfrm>
          <a:noFill/>
          <a:ln>
            <a:noFill/>
          </a:ln>
        </p:spPr>
        <p:txBody>
          <a:bodyPr anchor="b">
            <a:noAutofit/>
          </a:bodyPr>
          <a:lstStyle>
            <a:lvl1pPr algn="l">
              <a:defRPr sz="4800">
                <a:solidFill>
                  <a:schemeClr val="accent1"/>
                </a:solidFill>
                <a:latin typeface="+mn-lt"/>
              </a:defRPr>
            </a:lvl1pPr>
          </a:lstStyle>
          <a:p>
            <a:r>
              <a:rPr lang="en-US"/>
              <a:t>Click to edit Master title style</a:t>
            </a:r>
          </a:p>
        </p:txBody>
      </p:sp>
    </p:spTree>
    <p:extLst>
      <p:ext uri="{BB962C8B-B14F-4D97-AF65-F5344CB8AC3E}">
        <p14:creationId xmlns:p14="http://schemas.microsoft.com/office/powerpoint/2010/main" val="23165646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2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1"/>
            <a:ext cx="12192000" cy="912244"/>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85469" y="160894"/>
            <a:ext cx="10250362" cy="751350"/>
          </a:xfrm>
        </p:spPr>
        <p:txBody>
          <a:bodyPr>
            <a:normAutofit/>
          </a:bodyPr>
          <a:lstStyle>
            <a:lvl1pPr algn="l">
              <a:defRPr sz="3600" b="0">
                <a:solidFill>
                  <a:schemeClr val="bg1"/>
                </a:solidFill>
                <a:latin typeface="+mj-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85468" y="1496253"/>
            <a:ext cx="11544581"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pic>
        <p:nvPicPr>
          <p:cNvPr id="14" name="Picture 13" descr="A picture containing text, clipart&#10;&#10;Description automatically generated">
            <a:extLst>
              <a:ext uri="{FF2B5EF4-FFF2-40B4-BE49-F238E27FC236}">
                <a16:creationId xmlns:a16="http://schemas.microsoft.com/office/drawing/2014/main" id="{884B3B1F-4F78-A294-A0CE-5F5AE936FF2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9517" y="196872"/>
            <a:ext cx="1147014" cy="563948"/>
          </a:xfrm>
          <a:prstGeom prst="rect">
            <a:avLst/>
          </a:prstGeom>
        </p:spPr>
      </p:pic>
      <p:sp>
        <p:nvSpPr>
          <p:cNvPr id="15" name="Rectangle 14">
            <a:extLst>
              <a:ext uri="{FF2B5EF4-FFF2-40B4-BE49-F238E27FC236}">
                <a16:creationId xmlns:a16="http://schemas.microsoft.com/office/drawing/2014/main" id="{C0FB76E9-1736-B93D-989B-940BFDA11D1C}"/>
              </a:ext>
            </a:extLst>
          </p:cNvPr>
          <p:cNvSpPr/>
          <p:nvPr userDrawn="1"/>
        </p:nvSpPr>
        <p:spPr>
          <a:xfrm>
            <a:off x="0" y="964690"/>
            <a:ext cx="12192000" cy="45719"/>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Tree>
    <p:extLst>
      <p:ext uri="{BB962C8B-B14F-4D97-AF65-F5344CB8AC3E}">
        <p14:creationId xmlns:p14="http://schemas.microsoft.com/office/powerpoint/2010/main" val="13722253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9_Title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F7851E3-CE49-FDB1-C050-C3A2F6823661}"/>
              </a:ext>
            </a:extLst>
          </p:cNvPr>
          <p:cNvSpPr/>
          <p:nvPr userDrawn="1"/>
        </p:nvSpPr>
        <p:spPr>
          <a:xfrm>
            <a:off x="2689391" y="0"/>
            <a:ext cx="9264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1" y="-1"/>
            <a:ext cx="2624654"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descr="A picture containing text, clipart&#10;&#10;Description automatically generated">
            <a:extLst>
              <a:ext uri="{FF2B5EF4-FFF2-40B4-BE49-F238E27FC236}">
                <a16:creationId xmlns:a16="http://schemas.microsoft.com/office/drawing/2014/main" id="{AC905F65-6FA7-1E3D-2B05-00E808E6411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4912" y="149364"/>
            <a:ext cx="1274831" cy="626791"/>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p:nvPr>
        </p:nvSpPr>
        <p:spPr>
          <a:xfrm>
            <a:off x="2985961" y="149364"/>
            <a:ext cx="8647949" cy="679730"/>
          </a:xfrm>
          <a:noFill/>
          <a:ln>
            <a:noFill/>
          </a:ln>
        </p:spPr>
        <p:txBody>
          <a:bodyPr anchor="b">
            <a:noAutofit/>
          </a:bodyPr>
          <a:lstStyle>
            <a:lvl1pPr algn="l">
              <a:defRPr sz="4000">
                <a:solidFill>
                  <a:schemeClr val="accent1"/>
                </a:solidFill>
                <a:latin typeface="+mn-lt"/>
              </a:defRPr>
            </a:lvl1pPr>
          </a:lstStyle>
          <a:p>
            <a:r>
              <a:rPr lang="en-US"/>
              <a:t>Click to edit Master title style</a:t>
            </a:r>
          </a:p>
        </p:txBody>
      </p:sp>
    </p:spTree>
    <p:extLst>
      <p:ext uri="{BB962C8B-B14F-4D97-AF65-F5344CB8AC3E}">
        <p14:creationId xmlns:p14="http://schemas.microsoft.com/office/powerpoint/2010/main" val="10209580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 Id="rId5" Type="http://schemas.openxmlformats.org/officeDocument/2006/relationships/theme" Target="../theme/theme2.xml"/><Relationship Id="rId4"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AD11762-42A2-7645-EBCE-9ECD072C91E7}"/>
              </a:ext>
            </a:extLst>
          </p:cNvPr>
          <p:cNvGraphicFramePr>
            <a:graphicFrameLocks noChangeAspect="1"/>
          </p:cNvGraphicFramePr>
          <p:nvPr userDrawn="1">
            <p:custDataLst>
              <p:tags r:id="rId6"/>
            </p:custDataLst>
            <p:extLst>
              <p:ext uri="{D42A27DB-BD31-4B8C-83A1-F6EECF244321}">
                <p14:modId xmlns:p14="http://schemas.microsoft.com/office/powerpoint/2010/main" val="3188307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25" imgH="424" progId="TCLayout.ActiveDocument.1">
                  <p:embed/>
                </p:oleObj>
              </mc:Choice>
              <mc:Fallback>
                <p:oleObj name="think-cell Slide" r:id="rId7" imgW="425" imgH="424" progId="TCLayout.ActiveDocument.1">
                  <p:embed/>
                  <p:pic>
                    <p:nvPicPr>
                      <p:cNvPr id="7" name="Object 6" hidden="1">
                        <a:extLst>
                          <a:ext uri="{FF2B5EF4-FFF2-40B4-BE49-F238E27FC236}">
                            <a16:creationId xmlns:a16="http://schemas.microsoft.com/office/drawing/2014/main" id="{FAD11762-42A2-7645-EBCE-9ECD072C91E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fld id="{FA6A0AD2-53AF-4D84-8AC9-3DBC493F2F75}" type="datetimeFigureOut">
              <a:rPr lang="en-US" smtClean="0"/>
              <a:pPr/>
              <a:t>10/27/2023</a:t>
            </a:fld>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4111256006"/>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9" r:id="rId3"/>
    <p:sldLayoutId id="2147483788" r:id="rId4"/>
  </p:sldLayoutIdLst>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fld id="{FA6A0AD2-53AF-4D84-8AC9-3DBC493F2F75}" type="datetimeFigureOut">
              <a:rPr lang="en-US" smtClean="0"/>
              <a:pPr/>
              <a:t>10/27/2023</a:t>
            </a:fld>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4111256006"/>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Lst>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5.xm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oleObject" Target="../embeddings/oleObject5.bin"/><Relationship Id="rId7" Type="http://schemas.openxmlformats.org/officeDocument/2006/relationships/image" Target="../media/image27.png"/><Relationship Id="rId2" Type="http://schemas.openxmlformats.org/officeDocument/2006/relationships/slideLayout" Target="../slideLayouts/slideLayout3.xml"/><Relationship Id="rId1" Type="http://schemas.openxmlformats.org/officeDocument/2006/relationships/tags" Target="../tags/tag6.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tags" Target="../tags/tag8.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image" Target="../media/image29.png"/><Relationship Id="rId1" Type="http://schemas.openxmlformats.org/officeDocument/2006/relationships/slideLayout" Target="../slideLayouts/slideLayout3.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1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8" Type="http://schemas.openxmlformats.org/officeDocument/2006/relationships/slideLayout" Target="../slideLayouts/slideLayout3.xml"/><Relationship Id="rId3" Type="http://schemas.openxmlformats.org/officeDocument/2006/relationships/tags" Target="../tags/tag11.xml"/><Relationship Id="rId7" Type="http://schemas.openxmlformats.org/officeDocument/2006/relationships/tags" Target="../tags/tag15.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tags" Target="../tags/tag14.xml"/><Relationship Id="rId11" Type="http://schemas.openxmlformats.org/officeDocument/2006/relationships/chart" Target="../charts/chart1.xml"/><Relationship Id="rId5" Type="http://schemas.openxmlformats.org/officeDocument/2006/relationships/tags" Target="../tags/tag13.xml"/><Relationship Id="rId10" Type="http://schemas.openxmlformats.org/officeDocument/2006/relationships/image" Target="../media/image36.emf"/><Relationship Id="rId4" Type="http://schemas.openxmlformats.org/officeDocument/2006/relationships/tags" Target="../tags/tag12.xml"/><Relationship Id="rId9" Type="http://schemas.openxmlformats.org/officeDocument/2006/relationships/oleObject" Target="../embeddings/oleObject8.bin"/></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7.xml"/><Relationship Id="rId5" Type="http://schemas.openxmlformats.org/officeDocument/2006/relationships/image" Target="../media/image41.png"/><Relationship Id="rId4" Type="http://schemas.openxmlformats.org/officeDocument/2006/relationships/image" Target="../media/image40.png"/></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16.xml"/><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7.xml"/><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xml"/><Relationship Id="rId1" Type="http://schemas.openxmlformats.org/officeDocument/2006/relationships/tags" Target="../tags/tag18.xml"/><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3.xml"/><Relationship Id="rId1" Type="http://schemas.openxmlformats.org/officeDocument/2006/relationships/tags" Target="../tags/tag19.xml"/><Relationship Id="rId4" Type="http://schemas.openxmlformats.org/officeDocument/2006/relationships/image" Target="../media/image1.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4.xml"/><Relationship Id="rId1" Type="http://schemas.openxmlformats.org/officeDocument/2006/relationships/tags" Target="../tags/tag20.xml"/><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3.xml"/><Relationship Id="rId1" Type="http://schemas.openxmlformats.org/officeDocument/2006/relationships/tags" Target="../tags/tag4.xml"/><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3" Type="http://schemas.openxmlformats.org/officeDocument/2006/relationships/image" Target="../media/image42.svg"/><Relationship Id="rId7" Type="http://schemas.openxmlformats.org/officeDocument/2006/relationships/image" Target="../media/image45.png"/><Relationship Id="rId2" Type="http://schemas.openxmlformats.org/officeDocument/2006/relationships/image" Target="../media/image25.png"/><Relationship Id="rId1" Type="http://schemas.openxmlformats.org/officeDocument/2006/relationships/slideLayout" Target="../slideLayouts/slideLayout3.xml"/><Relationship Id="rId6" Type="http://schemas.openxmlformats.org/officeDocument/2006/relationships/image" Target="../media/image44.png"/><Relationship Id="rId5" Type="http://schemas.openxmlformats.org/officeDocument/2006/relationships/image" Target="../media/image43.svg"/><Relationship Id="rId4" Type="http://schemas.openxmlformats.org/officeDocument/2006/relationships/image" Target="../media/image27.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s://www.youtube.com/watch?v=zbmp0VKzQ1Y&amp;feature=youtu.be" TargetMode="Externa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hyperlink" Target="https://tea.texas.gov/texas-schools/accountability/academic-accountability/performance-reporting/2023-accountability-development-materials" TargetMode="External"/><Relationship Id="rId2" Type="http://schemas.openxmlformats.org/officeDocument/2006/relationships/hyperlink" Target="https://tea.texas.gov/sites/default/files/supplemental-a-f-refresh-slides.pdf" TargetMode="Externa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svg"/><Relationship Id="rId7" Type="http://schemas.openxmlformats.org/officeDocument/2006/relationships/image" Target="../media/image9.svg"/><Relationship Id="rId2" Type="http://schemas.openxmlformats.org/officeDocument/2006/relationships/image" Target="../media/image4.png"/><Relationship Id="rId1" Type="http://schemas.openxmlformats.org/officeDocument/2006/relationships/slideLayout" Target="../slideLayouts/slideLayout3.xml"/><Relationship Id="rId6" Type="http://schemas.openxmlformats.org/officeDocument/2006/relationships/image" Target="../media/image8.png"/><Relationship Id="rId5" Type="http://schemas.openxmlformats.org/officeDocument/2006/relationships/image" Target="../media/image7.svg"/><Relationship Id="rId4" Type="http://schemas.openxmlformats.org/officeDocument/2006/relationships/image" Target="../media/image6.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svg"/><Relationship Id="rId3" Type="http://schemas.openxmlformats.org/officeDocument/2006/relationships/image" Target="../media/image12.svg"/><Relationship Id="rId7" Type="http://schemas.openxmlformats.org/officeDocument/2006/relationships/image" Target="../media/image16.svg"/><Relationship Id="rId12" Type="http://schemas.openxmlformats.org/officeDocument/2006/relationships/image" Target="../media/image21.png"/><Relationship Id="rId2" Type="http://schemas.openxmlformats.org/officeDocument/2006/relationships/image" Target="../media/image11.png"/><Relationship Id="rId1" Type="http://schemas.openxmlformats.org/officeDocument/2006/relationships/slideLayout" Target="../slideLayouts/slideLayout3.xml"/><Relationship Id="rId6" Type="http://schemas.openxmlformats.org/officeDocument/2006/relationships/image" Target="../media/image15.png"/><Relationship Id="rId11" Type="http://schemas.openxmlformats.org/officeDocument/2006/relationships/image" Target="../media/image20.svg"/><Relationship Id="rId5" Type="http://schemas.openxmlformats.org/officeDocument/2006/relationships/image" Target="../media/image14.sv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0E51EBF-5DAE-783B-09C1-AC22DE88D8A8}"/>
              </a:ext>
            </a:extLst>
          </p:cNvPr>
          <p:cNvGraphicFramePr>
            <a:graphicFrameLocks noChangeAspect="1"/>
          </p:cNvGraphicFramePr>
          <p:nvPr>
            <p:custDataLst>
              <p:tags r:id="rId1"/>
            </p:custDataLst>
            <p:extLst>
              <p:ext uri="{D42A27DB-BD31-4B8C-83A1-F6EECF244321}">
                <p14:modId xmlns:p14="http://schemas.microsoft.com/office/powerpoint/2010/main" val="1999068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10E51EBF-5DAE-783B-09C1-AC22DE88D8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CF49749-BDB5-1AAE-E301-025BD2578DE5}"/>
              </a:ext>
            </a:extLst>
          </p:cNvPr>
          <p:cNvSpPr>
            <a:spLocks noGrp="1"/>
          </p:cNvSpPr>
          <p:nvPr>
            <p:ph type="ctrTitle"/>
          </p:nvPr>
        </p:nvSpPr>
        <p:spPr>
          <a:xfrm>
            <a:off x="2064853" y="2462084"/>
            <a:ext cx="8593428" cy="1933831"/>
          </a:xfrm>
        </p:spPr>
        <p:txBody>
          <a:bodyPr vert="horz"/>
          <a:lstStyle/>
          <a:p>
            <a:r>
              <a:rPr lang="en-US" dirty="0"/>
              <a:t>Updated </a:t>
            </a:r>
            <a:r>
              <a:rPr lang="en-US" i="1" dirty="0"/>
              <a:t>A–F </a:t>
            </a:r>
            <a:r>
              <a:rPr lang="en-US" dirty="0"/>
              <a:t>Refresh Template </a:t>
            </a:r>
            <a:br>
              <a:rPr lang="en-US" dirty="0"/>
            </a:br>
            <a:r>
              <a:rPr lang="en-US" sz="4000" dirty="0"/>
              <a:t>District Presentation to School Board</a:t>
            </a:r>
            <a:br>
              <a:rPr lang="en-US" dirty="0"/>
            </a:br>
            <a:r>
              <a:rPr lang="en-US" sz="2000" b="0" i="1" dirty="0"/>
              <a:t>October 2023</a:t>
            </a:r>
          </a:p>
        </p:txBody>
      </p:sp>
    </p:spTree>
    <p:extLst>
      <p:ext uri="{BB962C8B-B14F-4D97-AF65-F5344CB8AC3E}">
        <p14:creationId xmlns:p14="http://schemas.microsoft.com/office/powerpoint/2010/main" val="41307001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03A14E-0327-76B4-4D43-018EAFE80796}"/>
              </a:ext>
            </a:extLst>
          </p:cNvPr>
          <p:cNvSpPr>
            <a:spLocks noGrp="1"/>
          </p:cNvSpPr>
          <p:nvPr>
            <p:ph type="title"/>
          </p:nvPr>
        </p:nvSpPr>
        <p:spPr>
          <a:xfrm>
            <a:off x="285469" y="0"/>
            <a:ext cx="10250362" cy="912244"/>
          </a:xfrm>
        </p:spPr>
        <p:txBody>
          <a:bodyPr>
            <a:noAutofit/>
          </a:bodyPr>
          <a:lstStyle/>
          <a:p>
            <a:r>
              <a:rPr lang="en-US" sz="2800"/>
              <a:t>The </a:t>
            </a:r>
            <a:r>
              <a:rPr lang="en-US" sz="2800" i="1"/>
              <a:t>A-F</a:t>
            </a:r>
            <a:r>
              <a:rPr lang="en-US" sz="2800"/>
              <a:t> system has stayed the same during the past 5 years, but statute requires updates to meet goals for students</a:t>
            </a:r>
          </a:p>
        </p:txBody>
      </p:sp>
      <p:sp>
        <p:nvSpPr>
          <p:cNvPr id="4" name="Content Placeholder 3">
            <a:extLst>
              <a:ext uri="{FF2B5EF4-FFF2-40B4-BE49-F238E27FC236}">
                <a16:creationId xmlns:a16="http://schemas.microsoft.com/office/drawing/2014/main" id="{A6A4BA1F-9B5D-31C3-658C-C99E2CC564D2}"/>
              </a:ext>
            </a:extLst>
          </p:cNvPr>
          <p:cNvSpPr>
            <a:spLocks noGrp="1"/>
          </p:cNvSpPr>
          <p:nvPr>
            <p:ph idx="1"/>
          </p:nvPr>
        </p:nvSpPr>
        <p:spPr>
          <a:xfrm>
            <a:off x="552609" y="1238520"/>
            <a:ext cx="11237314" cy="1777054"/>
          </a:xfrm>
        </p:spPr>
        <p:txBody>
          <a:bodyPr/>
          <a:lstStyle/>
          <a:p>
            <a:r>
              <a:rPr lang="en-US"/>
              <a:t>To help school leaders reflect on performance improvements, A-F cut points have remained unchanged since launched in 2017. </a:t>
            </a:r>
          </a:p>
          <a:p>
            <a:r>
              <a:rPr lang="en-US"/>
              <a:t>But A-F indicators must be updated given statutory requirements guiding the goals of the system.   2023 is the year for those changes.</a:t>
            </a:r>
          </a:p>
        </p:txBody>
      </p:sp>
      <p:pic>
        <p:nvPicPr>
          <p:cNvPr id="10" name="Picture 9">
            <a:extLst>
              <a:ext uri="{FF2B5EF4-FFF2-40B4-BE49-F238E27FC236}">
                <a16:creationId xmlns:a16="http://schemas.microsoft.com/office/drawing/2014/main" id="{5AE40F7D-0225-3811-6196-1449D8DB062A}"/>
              </a:ext>
            </a:extLst>
          </p:cNvPr>
          <p:cNvPicPr>
            <a:picLocks noChangeAspect="1"/>
          </p:cNvPicPr>
          <p:nvPr/>
        </p:nvPicPr>
        <p:blipFill>
          <a:blip r:embed="rId2"/>
          <a:stretch>
            <a:fillRect/>
          </a:stretch>
        </p:blipFill>
        <p:spPr>
          <a:xfrm>
            <a:off x="977295" y="3736855"/>
            <a:ext cx="10237409" cy="2030384"/>
          </a:xfrm>
          <a:prstGeom prst="rect">
            <a:avLst/>
          </a:prstGeom>
        </p:spPr>
      </p:pic>
      <p:pic>
        <p:nvPicPr>
          <p:cNvPr id="11" name="Picture 10">
            <a:extLst>
              <a:ext uri="{FF2B5EF4-FFF2-40B4-BE49-F238E27FC236}">
                <a16:creationId xmlns:a16="http://schemas.microsoft.com/office/drawing/2014/main" id="{9C22EEAB-33C9-9F75-08E4-BEE8BB9E3EBA}"/>
              </a:ext>
            </a:extLst>
          </p:cNvPr>
          <p:cNvPicPr>
            <a:picLocks noChangeAspect="1"/>
          </p:cNvPicPr>
          <p:nvPr/>
        </p:nvPicPr>
        <p:blipFill>
          <a:blip r:embed="rId3"/>
          <a:stretch>
            <a:fillRect/>
          </a:stretch>
        </p:blipFill>
        <p:spPr>
          <a:xfrm>
            <a:off x="2453575" y="4983763"/>
            <a:ext cx="1249745" cy="317558"/>
          </a:xfrm>
          <a:prstGeom prst="rect">
            <a:avLst/>
          </a:prstGeom>
        </p:spPr>
      </p:pic>
      <p:grpSp>
        <p:nvGrpSpPr>
          <p:cNvPr id="7" name="Group 6">
            <a:extLst>
              <a:ext uri="{FF2B5EF4-FFF2-40B4-BE49-F238E27FC236}">
                <a16:creationId xmlns:a16="http://schemas.microsoft.com/office/drawing/2014/main" id="{5DD1B999-8F04-A0F4-C344-34196759476B}"/>
              </a:ext>
            </a:extLst>
          </p:cNvPr>
          <p:cNvGrpSpPr/>
          <p:nvPr/>
        </p:nvGrpSpPr>
        <p:grpSpPr>
          <a:xfrm>
            <a:off x="8719128" y="3282657"/>
            <a:ext cx="1671782" cy="2460621"/>
            <a:chOff x="8737600" y="3306618"/>
            <a:chExt cx="1671782" cy="2460621"/>
          </a:xfrm>
        </p:grpSpPr>
        <p:sp>
          <p:nvSpPr>
            <p:cNvPr id="3" name="Rectangle 2">
              <a:extLst>
                <a:ext uri="{FF2B5EF4-FFF2-40B4-BE49-F238E27FC236}">
                  <a16:creationId xmlns:a16="http://schemas.microsoft.com/office/drawing/2014/main" id="{7612881A-9561-D941-D7F1-7F73E6C08C17}"/>
                </a:ext>
              </a:extLst>
            </p:cNvPr>
            <p:cNvSpPr/>
            <p:nvPr/>
          </p:nvSpPr>
          <p:spPr>
            <a:xfrm>
              <a:off x="8894618" y="3306618"/>
              <a:ext cx="1357746" cy="2460621"/>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298E66A-A18F-D9B9-B0BA-CEBA3A7ED3A0}"/>
                </a:ext>
              </a:extLst>
            </p:cNvPr>
            <p:cNvSpPr/>
            <p:nvPr/>
          </p:nvSpPr>
          <p:spPr>
            <a:xfrm>
              <a:off x="8894618" y="3306618"/>
              <a:ext cx="1357746" cy="68349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438C82A9-14F3-304D-9B08-66093AD5044E}"/>
                </a:ext>
              </a:extLst>
            </p:cNvPr>
            <p:cNvSpPr txBox="1"/>
            <p:nvPr/>
          </p:nvSpPr>
          <p:spPr>
            <a:xfrm>
              <a:off x="8737600" y="3347173"/>
              <a:ext cx="1671782" cy="631327"/>
            </a:xfrm>
            <a:prstGeom prst="rect">
              <a:avLst/>
            </a:prstGeom>
            <a:noFill/>
          </p:spPr>
          <p:txBody>
            <a:bodyPr wrap="square" rtlCol="0">
              <a:spAutoFit/>
            </a:bodyPr>
            <a:lstStyle/>
            <a:p>
              <a:pPr algn="ctr">
                <a:lnSpc>
                  <a:spcPts val="2100"/>
                </a:lnSpc>
              </a:pPr>
              <a:r>
                <a:rPr lang="en-US" sz="2000" b="1">
                  <a:solidFill>
                    <a:schemeClr val="bg1"/>
                  </a:solidFill>
                </a:rPr>
                <a:t>A-F Refresh Year</a:t>
              </a:r>
            </a:p>
          </p:txBody>
        </p:sp>
      </p:grpSp>
    </p:spTree>
    <p:extLst>
      <p:ext uri="{BB962C8B-B14F-4D97-AF65-F5344CB8AC3E}">
        <p14:creationId xmlns:p14="http://schemas.microsoft.com/office/powerpoint/2010/main" val="41531513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EDA7009-2BC5-08CF-9E0E-3AAC17A15DB1}"/>
              </a:ext>
            </a:extLst>
          </p:cNvPr>
          <p:cNvSpPr>
            <a:spLocks noGrp="1"/>
          </p:cNvSpPr>
          <p:nvPr>
            <p:ph type="ctrTitle"/>
          </p:nvPr>
        </p:nvSpPr>
        <p:spPr/>
        <p:txBody>
          <a:bodyPr/>
          <a:lstStyle/>
          <a:p>
            <a:pPr algn="ctr"/>
            <a:r>
              <a:rPr lang="en-US"/>
              <a:t>What is “What If”?</a:t>
            </a:r>
          </a:p>
        </p:txBody>
      </p:sp>
    </p:spTree>
    <p:extLst>
      <p:ext uri="{BB962C8B-B14F-4D97-AF65-F5344CB8AC3E}">
        <p14:creationId xmlns:p14="http://schemas.microsoft.com/office/powerpoint/2010/main" val="3792496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03A14E-0327-76B4-4D43-018EAFE80796}"/>
              </a:ext>
            </a:extLst>
          </p:cNvPr>
          <p:cNvSpPr>
            <a:spLocks noGrp="1"/>
          </p:cNvSpPr>
          <p:nvPr>
            <p:ph type="title"/>
          </p:nvPr>
        </p:nvSpPr>
        <p:spPr/>
        <p:txBody>
          <a:bodyPr>
            <a:noAutofit/>
          </a:bodyPr>
          <a:lstStyle/>
          <a:p>
            <a:r>
              <a:rPr lang="en-US" sz="2800"/>
              <a:t>Evaluating performance will be different this year</a:t>
            </a:r>
          </a:p>
        </p:txBody>
      </p:sp>
      <p:sp>
        <p:nvSpPr>
          <p:cNvPr id="4" name="Content Placeholder 3">
            <a:extLst>
              <a:ext uri="{FF2B5EF4-FFF2-40B4-BE49-F238E27FC236}">
                <a16:creationId xmlns:a16="http://schemas.microsoft.com/office/drawing/2014/main" id="{A6A4BA1F-9B5D-31C3-658C-C99E2CC564D2}"/>
              </a:ext>
            </a:extLst>
          </p:cNvPr>
          <p:cNvSpPr>
            <a:spLocks noGrp="1"/>
          </p:cNvSpPr>
          <p:nvPr>
            <p:ph idx="1"/>
          </p:nvPr>
        </p:nvSpPr>
        <p:spPr>
          <a:xfrm>
            <a:off x="444626" y="1367435"/>
            <a:ext cx="11440308" cy="2625804"/>
          </a:xfrm>
        </p:spPr>
        <p:txBody>
          <a:bodyPr lIns="91440" tIns="45720" rIns="91440" bIns="45720" anchor="t"/>
          <a:lstStyle/>
          <a:p>
            <a:r>
              <a:rPr lang="en-US" dirty="0"/>
              <a:t>2022 ratings and 2023 ratings are using different methodologies.</a:t>
            </a:r>
          </a:p>
          <a:p>
            <a:pPr lvl="1"/>
            <a:r>
              <a:rPr lang="en-US" dirty="0"/>
              <a:t>SY 2022-23 ratings are based on a different set of rules than previous </a:t>
            </a:r>
            <a:r>
              <a:rPr lang="en-US" i="1" dirty="0"/>
              <a:t>A-F </a:t>
            </a:r>
            <a:r>
              <a:rPr lang="en-US" dirty="0"/>
              <a:t>ratings.</a:t>
            </a:r>
            <a:endParaRPr lang="en-US" dirty="0">
              <a:cs typeface="Calibri"/>
            </a:endParaRPr>
          </a:p>
          <a:p>
            <a:pPr lvl="1"/>
            <a:r>
              <a:rPr lang="en-US" dirty="0"/>
              <a:t>2022 ratings and 2023 ratings cannot be compared side-by-side.</a:t>
            </a:r>
            <a:endParaRPr lang="en-US" dirty="0">
              <a:cs typeface="Calibri"/>
            </a:endParaRPr>
          </a:p>
          <a:p>
            <a:pPr lvl="1"/>
            <a:endParaRPr lang="en-US" dirty="0">
              <a:cs typeface="Calibri"/>
            </a:endParaRPr>
          </a:p>
          <a:p>
            <a:r>
              <a:rPr lang="en-US" dirty="0">
                <a:cs typeface="Calibri"/>
              </a:rPr>
              <a:t>The 2023 </a:t>
            </a:r>
            <a:r>
              <a:rPr lang="en-US" i="1" dirty="0">
                <a:cs typeface="Calibri"/>
              </a:rPr>
              <a:t>A-F </a:t>
            </a:r>
            <a:r>
              <a:rPr lang="en-US" dirty="0">
                <a:cs typeface="Calibri"/>
              </a:rPr>
              <a:t>Refresh methodology shows more differences in campus performance, with a more distributed result.</a:t>
            </a:r>
          </a:p>
          <a:p>
            <a:pPr lvl="1"/>
            <a:r>
              <a:rPr lang="en-US" dirty="0"/>
              <a:t>It is possible a campus with an </a:t>
            </a:r>
            <a:r>
              <a:rPr lang="en-US" i="1" dirty="0"/>
              <a:t>A</a:t>
            </a:r>
            <a:r>
              <a:rPr lang="en-US" dirty="0"/>
              <a:t> rating in 2022 may improve in 2023 and</a:t>
            </a:r>
            <a:r>
              <a:rPr lang="en-US" sz="2400" dirty="0"/>
              <a:t> yet receive a </a:t>
            </a:r>
            <a:r>
              <a:rPr lang="en-US" sz="2400" i="1" dirty="0"/>
              <a:t>B </a:t>
            </a:r>
            <a:r>
              <a:rPr lang="en-US" sz="2400" dirty="0"/>
              <a:t>rating.</a:t>
            </a:r>
            <a:r>
              <a:rPr lang="en-US" dirty="0"/>
              <a:t> </a:t>
            </a:r>
            <a:endParaRPr lang="en-US" dirty="0">
              <a:cs typeface="Calibri" panose="020F0502020204030204"/>
            </a:endParaRPr>
          </a:p>
          <a:p>
            <a:pPr lvl="1"/>
            <a:r>
              <a:rPr lang="en-US" dirty="0">
                <a:cs typeface="Calibri" panose="020F0502020204030204"/>
              </a:rPr>
              <a:t>It is also possible that a campus with an </a:t>
            </a:r>
            <a:r>
              <a:rPr lang="en-US" i="1" dirty="0">
                <a:cs typeface="Calibri" panose="020F0502020204030204"/>
              </a:rPr>
              <a:t>A</a:t>
            </a:r>
            <a:r>
              <a:rPr lang="en-US" dirty="0">
                <a:cs typeface="Calibri" panose="020F0502020204030204"/>
              </a:rPr>
              <a:t> rating in 2022 may decline in 2023 and yet maintain an </a:t>
            </a:r>
            <a:r>
              <a:rPr lang="en-US" i="1" dirty="0">
                <a:cs typeface="Calibri" panose="020F0502020204030204"/>
              </a:rPr>
              <a:t>A</a:t>
            </a:r>
            <a:r>
              <a:rPr lang="en-US" dirty="0">
                <a:cs typeface="Calibri" panose="020F0502020204030204"/>
              </a:rPr>
              <a:t> rating.</a:t>
            </a:r>
          </a:p>
        </p:txBody>
      </p:sp>
      <p:sp>
        <p:nvSpPr>
          <p:cNvPr id="5" name="TextBox 4">
            <a:extLst>
              <a:ext uri="{FF2B5EF4-FFF2-40B4-BE49-F238E27FC236}">
                <a16:creationId xmlns:a16="http://schemas.microsoft.com/office/drawing/2014/main" id="{DE9A1181-06B9-9C2E-BE80-53237774D645}"/>
              </a:ext>
            </a:extLst>
          </p:cNvPr>
          <p:cNvSpPr txBox="1"/>
          <p:nvPr/>
        </p:nvSpPr>
        <p:spPr>
          <a:xfrm>
            <a:off x="865230" y="5688082"/>
            <a:ext cx="10464800" cy="523220"/>
          </a:xfrm>
          <a:prstGeom prst="rect">
            <a:avLst/>
          </a:prstGeom>
          <a:noFill/>
        </p:spPr>
        <p:txBody>
          <a:bodyPr wrap="square">
            <a:spAutoFit/>
          </a:bodyPr>
          <a:lstStyle/>
          <a:p>
            <a:pPr algn="ctr"/>
            <a:r>
              <a:rPr lang="en-US" sz="2800" b="0" i="0">
                <a:solidFill>
                  <a:srgbClr val="000000"/>
                </a:solidFill>
                <a:effectLst/>
              </a:rPr>
              <a:t> </a:t>
            </a:r>
            <a:r>
              <a:rPr lang="en-US" sz="2800" b="0" i="0" u="none" strike="noStrike">
                <a:solidFill>
                  <a:srgbClr val="0D6CB9"/>
                </a:solidFill>
                <a:effectLst/>
              </a:rPr>
              <a:t> It’s not a </a:t>
            </a:r>
            <a:r>
              <a:rPr lang="en-US" sz="2800" b="1" i="0" u="none" strike="noStrike">
                <a:solidFill>
                  <a:schemeClr val="accent2"/>
                </a:solidFill>
                <a:effectLst/>
              </a:rPr>
              <a:t>simple apples-to-apples comparison </a:t>
            </a:r>
            <a:r>
              <a:rPr lang="en-US" sz="2800" b="0" i="0" u="none" strike="noStrike">
                <a:solidFill>
                  <a:srgbClr val="0D6CB9"/>
                </a:solidFill>
                <a:effectLst/>
              </a:rPr>
              <a:t>this year</a:t>
            </a:r>
            <a:r>
              <a:rPr lang="en-US" sz="2800">
                <a:solidFill>
                  <a:srgbClr val="0D6CB9"/>
                </a:solidFill>
              </a:rPr>
              <a:t>.</a:t>
            </a:r>
            <a:endParaRPr lang="en-US" sz="2800"/>
          </a:p>
        </p:txBody>
      </p:sp>
      <p:sp>
        <p:nvSpPr>
          <p:cNvPr id="3" name="Rectangle 2">
            <a:extLst>
              <a:ext uri="{FF2B5EF4-FFF2-40B4-BE49-F238E27FC236}">
                <a16:creationId xmlns:a16="http://schemas.microsoft.com/office/drawing/2014/main" id="{CECA8472-920D-B59F-ADB7-789C260F7A5F}"/>
              </a:ext>
            </a:extLst>
          </p:cNvPr>
          <p:cNvSpPr/>
          <p:nvPr/>
        </p:nvSpPr>
        <p:spPr>
          <a:xfrm>
            <a:off x="1141298" y="5453566"/>
            <a:ext cx="10153290" cy="992037"/>
          </a:xfrm>
          <a:prstGeom prst="rect">
            <a:avLst/>
          </a:prstGeom>
          <a:noFill/>
          <a:ln w="19050">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46478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5B568EE-CAA7-5CC4-419F-42BD36582B1C}"/>
              </a:ext>
            </a:extLst>
          </p:cNvPr>
          <p:cNvGraphicFramePr>
            <a:graphicFrameLocks noChangeAspect="1"/>
          </p:cNvGraphicFramePr>
          <p:nvPr>
            <p:custDataLst>
              <p:tags r:id="rId1"/>
            </p:custDataLst>
            <p:extLst>
              <p:ext uri="{D42A27DB-BD31-4B8C-83A1-F6EECF244321}">
                <p14:modId xmlns:p14="http://schemas.microsoft.com/office/powerpoint/2010/main" val="3918924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D5B568EE-CAA7-5CC4-419F-42BD36582B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D03A14E-0327-76B4-4D43-018EAFE80796}"/>
              </a:ext>
            </a:extLst>
          </p:cNvPr>
          <p:cNvSpPr>
            <a:spLocks noGrp="1"/>
          </p:cNvSpPr>
          <p:nvPr>
            <p:ph type="title"/>
          </p:nvPr>
        </p:nvSpPr>
        <p:spPr/>
        <p:txBody>
          <a:bodyPr vert="horz">
            <a:noAutofit/>
          </a:bodyPr>
          <a:lstStyle/>
          <a:p>
            <a:r>
              <a:rPr lang="en-US" sz="2800"/>
              <a:t>Because of this, TEA is providing districts </a:t>
            </a:r>
            <a:r>
              <a:rPr lang="en-US" sz="2800" b="1" i="1"/>
              <a:t> </a:t>
            </a:r>
            <a:r>
              <a:rPr lang="en-US" sz="2800"/>
              <a:t>“What If” ratings</a:t>
            </a:r>
          </a:p>
        </p:txBody>
      </p:sp>
      <p:sp>
        <p:nvSpPr>
          <p:cNvPr id="4" name="Content Placeholder 3">
            <a:extLst>
              <a:ext uri="{FF2B5EF4-FFF2-40B4-BE49-F238E27FC236}">
                <a16:creationId xmlns:a16="http://schemas.microsoft.com/office/drawing/2014/main" id="{A6A4BA1F-9B5D-31C3-658C-C99E2CC564D2}"/>
              </a:ext>
            </a:extLst>
          </p:cNvPr>
          <p:cNvSpPr>
            <a:spLocks noGrp="1"/>
          </p:cNvSpPr>
          <p:nvPr>
            <p:ph idx="1"/>
          </p:nvPr>
        </p:nvSpPr>
        <p:spPr>
          <a:xfrm>
            <a:off x="919706" y="1204422"/>
            <a:ext cx="10538691" cy="5361748"/>
          </a:xfrm>
        </p:spPr>
        <p:txBody>
          <a:bodyPr lIns="91440" tIns="45720" rIns="91440" bIns="45720" anchor="t"/>
          <a:lstStyle/>
          <a:p>
            <a:r>
              <a:rPr lang="en-US" dirty="0"/>
              <a:t>“What If” ratings use the new </a:t>
            </a:r>
            <a:r>
              <a:rPr lang="en-US" i="1" dirty="0"/>
              <a:t>A-F </a:t>
            </a:r>
            <a:r>
              <a:rPr lang="en-US" dirty="0"/>
              <a:t>methodology from the </a:t>
            </a:r>
            <a:r>
              <a:rPr lang="en-US" dirty="0">
                <a:ea typeface="+mn-lt"/>
                <a:cs typeface="+mn-lt"/>
              </a:rPr>
              <a:t>Final </a:t>
            </a:r>
            <a:r>
              <a:rPr lang="en-US" i="1" dirty="0">
                <a:ea typeface="+mn-lt"/>
                <a:cs typeface="+mn-lt"/>
              </a:rPr>
              <a:t>2023 Accountability Manual</a:t>
            </a:r>
            <a:r>
              <a:rPr lang="en-US" dirty="0">
                <a:ea typeface="+mn-lt"/>
                <a:cs typeface="+mn-lt"/>
              </a:rPr>
              <a:t> </a:t>
            </a:r>
            <a:r>
              <a:rPr lang="en-US" dirty="0"/>
              <a:t>in order to view 2022 results under the refreshed framework.  </a:t>
            </a:r>
            <a:endParaRPr lang="en-US"/>
          </a:p>
          <a:p>
            <a:pPr marL="0" indent="0">
              <a:buNone/>
            </a:pPr>
            <a:endParaRPr lang="en-US" sz="1200"/>
          </a:p>
          <a:p>
            <a:r>
              <a:rPr lang="en-US" dirty="0"/>
              <a:t>“What If” ratings </a:t>
            </a:r>
            <a:r>
              <a:rPr lang="en-US" b="1" i="1" dirty="0"/>
              <a:t>do not </a:t>
            </a:r>
            <a:r>
              <a:rPr lang="en-US" dirty="0"/>
              <a:t>replace 2022 ratings. They are another tool to support continuous improvement moving forward. </a:t>
            </a:r>
            <a:endParaRPr lang="en-US" dirty="0">
              <a:cs typeface="Calibri"/>
            </a:endParaRPr>
          </a:p>
        </p:txBody>
      </p:sp>
    </p:spTree>
    <p:extLst>
      <p:ext uri="{BB962C8B-B14F-4D97-AF65-F5344CB8AC3E}">
        <p14:creationId xmlns:p14="http://schemas.microsoft.com/office/powerpoint/2010/main" val="35675293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FD626F6-6387-E989-2B71-61251D2D7E0C}"/>
              </a:ext>
            </a:extLst>
          </p:cNvPr>
          <p:cNvGraphicFramePr>
            <a:graphicFrameLocks noChangeAspect="1"/>
          </p:cNvGraphicFramePr>
          <p:nvPr>
            <p:custDataLst>
              <p:tags r:id="rId1"/>
            </p:custDataLst>
            <p:extLst>
              <p:ext uri="{D42A27DB-BD31-4B8C-83A1-F6EECF244321}">
                <p14:modId xmlns:p14="http://schemas.microsoft.com/office/powerpoint/2010/main" val="531510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7" name="Object 6" hidden="1">
                        <a:extLst>
                          <a:ext uri="{FF2B5EF4-FFF2-40B4-BE49-F238E27FC236}">
                            <a16:creationId xmlns:a16="http://schemas.microsoft.com/office/drawing/2014/main" id="{9FD626F6-6387-E989-2B71-61251D2D7E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D03A14E-0327-76B4-4D43-018EAFE80796}"/>
              </a:ext>
            </a:extLst>
          </p:cNvPr>
          <p:cNvSpPr>
            <a:spLocks noGrp="1"/>
          </p:cNvSpPr>
          <p:nvPr>
            <p:ph type="title"/>
          </p:nvPr>
        </p:nvSpPr>
        <p:spPr/>
        <p:txBody>
          <a:bodyPr vert="horz">
            <a:noAutofit/>
          </a:bodyPr>
          <a:lstStyle/>
          <a:p>
            <a:r>
              <a:rPr lang="en-US" sz="2800"/>
              <a:t>TEA is publicly sharing “What If” ratings with 2023 ratings</a:t>
            </a:r>
          </a:p>
        </p:txBody>
      </p:sp>
      <p:sp>
        <p:nvSpPr>
          <p:cNvPr id="4" name="Content Placeholder 3">
            <a:extLst>
              <a:ext uri="{FF2B5EF4-FFF2-40B4-BE49-F238E27FC236}">
                <a16:creationId xmlns:a16="http://schemas.microsoft.com/office/drawing/2014/main" id="{A6A4BA1F-9B5D-31C3-658C-C99E2CC564D2}"/>
              </a:ext>
            </a:extLst>
          </p:cNvPr>
          <p:cNvSpPr>
            <a:spLocks noGrp="1"/>
          </p:cNvSpPr>
          <p:nvPr>
            <p:ph idx="1"/>
          </p:nvPr>
        </p:nvSpPr>
        <p:spPr>
          <a:xfrm>
            <a:off x="4211782" y="1496252"/>
            <a:ext cx="7638472" cy="3528329"/>
          </a:xfrm>
        </p:spPr>
        <p:txBody>
          <a:bodyPr/>
          <a:lstStyle/>
          <a:p>
            <a:r>
              <a:rPr lang="en-US" sz="2400"/>
              <a:t>“What If” versions of campus and district ratings from 2022, using the new </a:t>
            </a:r>
            <a:r>
              <a:rPr lang="en-US" sz="2400" i="1"/>
              <a:t>A-F </a:t>
            </a:r>
            <a:r>
              <a:rPr lang="en-US" sz="2400"/>
              <a:t>methodology are shared alongside 2023 ratings. </a:t>
            </a:r>
          </a:p>
          <a:p>
            <a:pPr marL="0" indent="0">
              <a:buNone/>
            </a:pPr>
            <a:endParaRPr lang="en-US" sz="1100"/>
          </a:p>
          <a:p>
            <a:r>
              <a:rPr lang="en-US" sz="2400"/>
              <a:t>This will allow board members, educators, parents and the public to get a sense of whether performance ratings issued in 2023 represent higher, lower, or similar performance as ratings issued in 2022 to support continuous improvement moving forward. </a:t>
            </a:r>
          </a:p>
          <a:p>
            <a:pPr marL="0" indent="0">
              <a:buNone/>
            </a:pPr>
            <a:endParaRPr lang="en-US" sz="1100"/>
          </a:p>
        </p:txBody>
      </p:sp>
      <p:sp>
        <p:nvSpPr>
          <p:cNvPr id="5" name="TextBox 4">
            <a:extLst>
              <a:ext uri="{FF2B5EF4-FFF2-40B4-BE49-F238E27FC236}">
                <a16:creationId xmlns:a16="http://schemas.microsoft.com/office/drawing/2014/main" id="{699DF759-D890-3496-5582-B2B12F7F1241}"/>
              </a:ext>
            </a:extLst>
          </p:cNvPr>
          <p:cNvSpPr txBox="1"/>
          <p:nvPr/>
        </p:nvSpPr>
        <p:spPr>
          <a:xfrm>
            <a:off x="788782" y="5343412"/>
            <a:ext cx="10464800" cy="954107"/>
          </a:xfrm>
          <a:prstGeom prst="rect">
            <a:avLst/>
          </a:prstGeom>
          <a:noFill/>
        </p:spPr>
        <p:txBody>
          <a:bodyPr wrap="square" lIns="91440" tIns="45720" rIns="91440" bIns="45720" anchor="t">
            <a:spAutoFit/>
          </a:bodyPr>
          <a:lstStyle/>
          <a:p>
            <a:pPr algn="ctr"/>
            <a:r>
              <a:rPr lang="en-US" sz="2800" b="0" i="0" dirty="0">
                <a:solidFill>
                  <a:srgbClr val="000000"/>
                </a:solidFill>
                <a:effectLst/>
              </a:rPr>
              <a:t> </a:t>
            </a:r>
            <a:r>
              <a:rPr lang="en-US" sz="2800" b="0" i="0" u="none" strike="noStrike" dirty="0">
                <a:solidFill>
                  <a:srgbClr val="0D6CB9"/>
                </a:solidFill>
                <a:effectLst/>
              </a:rPr>
              <a:t> </a:t>
            </a:r>
            <a:r>
              <a:rPr lang="en-US" sz="2800" b="1" i="0" u="sng" strike="noStrike" dirty="0">
                <a:solidFill>
                  <a:schemeClr val="accent1"/>
                </a:solidFill>
                <a:effectLst/>
              </a:rPr>
              <a:t>TXSchools.gov</a:t>
            </a:r>
            <a:r>
              <a:rPr lang="en-US" sz="2800" b="1" i="0" u="none" strike="noStrike" dirty="0">
                <a:solidFill>
                  <a:schemeClr val="accent1"/>
                </a:solidFill>
                <a:effectLst/>
              </a:rPr>
              <a:t> </a:t>
            </a:r>
            <a:r>
              <a:rPr lang="en-US" sz="2800" dirty="0">
                <a:solidFill>
                  <a:schemeClr val="accent1"/>
                </a:solidFill>
              </a:rPr>
              <a:t>provides</a:t>
            </a:r>
            <a:r>
              <a:rPr lang="en-US" sz="2800" b="0" i="0" u="none" strike="noStrike" dirty="0">
                <a:solidFill>
                  <a:schemeClr val="accent1"/>
                </a:solidFill>
                <a:effectLst/>
              </a:rPr>
              <a:t> an </a:t>
            </a:r>
            <a:r>
              <a:rPr lang="en-US" sz="2800" b="1" i="0" u="none" strike="noStrike" dirty="0">
                <a:solidFill>
                  <a:schemeClr val="accent2"/>
                </a:solidFill>
                <a:effectLst/>
              </a:rPr>
              <a:t>apples-to-apples comparison </a:t>
            </a:r>
            <a:r>
              <a:rPr lang="en-US" sz="2800" b="0" i="0" u="none" strike="noStrike" dirty="0">
                <a:solidFill>
                  <a:schemeClr val="accent1"/>
                </a:solidFill>
                <a:effectLst/>
              </a:rPr>
              <a:t>of ratings under the refreshed cut points &amp; methodology.</a:t>
            </a:r>
            <a:endParaRPr lang="en-US" sz="2800" dirty="0">
              <a:solidFill>
                <a:schemeClr val="accent1"/>
              </a:solidFill>
            </a:endParaRPr>
          </a:p>
        </p:txBody>
      </p:sp>
      <p:sp>
        <p:nvSpPr>
          <p:cNvPr id="3" name="Rectangle 2">
            <a:extLst>
              <a:ext uri="{FF2B5EF4-FFF2-40B4-BE49-F238E27FC236}">
                <a16:creationId xmlns:a16="http://schemas.microsoft.com/office/drawing/2014/main" id="{365C863B-CD7E-2CFB-4C9A-B71493015F2D}"/>
              </a:ext>
            </a:extLst>
          </p:cNvPr>
          <p:cNvSpPr/>
          <p:nvPr/>
        </p:nvSpPr>
        <p:spPr>
          <a:xfrm>
            <a:off x="807070" y="5217139"/>
            <a:ext cx="10577860" cy="1206652"/>
          </a:xfrm>
          <a:prstGeom prst="rect">
            <a:avLst/>
          </a:prstGeom>
          <a:noFill/>
          <a:ln w="19050">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9" name="Group 18">
            <a:extLst>
              <a:ext uri="{FF2B5EF4-FFF2-40B4-BE49-F238E27FC236}">
                <a16:creationId xmlns:a16="http://schemas.microsoft.com/office/drawing/2014/main" id="{05599CE7-289B-63D0-C14E-16270E79B75B}"/>
              </a:ext>
            </a:extLst>
          </p:cNvPr>
          <p:cNvGrpSpPr/>
          <p:nvPr/>
        </p:nvGrpSpPr>
        <p:grpSpPr>
          <a:xfrm>
            <a:off x="497552" y="1873600"/>
            <a:ext cx="3367866" cy="2090119"/>
            <a:chOff x="516025" y="2058327"/>
            <a:chExt cx="3367866" cy="2090119"/>
          </a:xfrm>
        </p:grpSpPr>
        <p:grpSp>
          <p:nvGrpSpPr>
            <p:cNvPr id="14" name="Group 13">
              <a:extLst>
                <a:ext uri="{FF2B5EF4-FFF2-40B4-BE49-F238E27FC236}">
                  <a16:creationId xmlns:a16="http://schemas.microsoft.com/office/drawing/2014/main" id="{C90901AE-E93B-642F-4775-B923F05B5DEF}"/>
                </a:ext>
              </a:extLst>
            </p:cNvPr>
            <p:cNvGrpSpPr/>
            <p:nvPr/>
          </p:nvGrpSpPr>
          <p:grpSpPr>
            <a:xfrm rot="912930">
              <a:off x="1842655" y="2107210"/>
              <a:ext cx="2041236" cy="2041236"/>
              <a:chOff x="1935019" y="2046221"/>
              <a:chExt cx="2041236" cy="2041236"/>
            </a:xfrm>
          </p:grpSpPr>
          <p:pic>
            <p:nvPicPr>
              <p:cNvPr id="11" name="Graphic 10" descr="Paper outline">
                <a:extLst>
                  <a:ext uri="{FF2B5EF4-FFF2-40B4-BE49-F238E27FC236}">
                    <a16:creationId xmlns:a16="http://schemas.microsoft.com/office/drawing/2014/main" id="{A92D3D3B-1277-2386-DBEE-44D737DB34E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935019" y="2046221"/>
                <a:ext cx="2041236" cy="2041236"/>
              </a:xfrm>
              <a:prstGeom prst="rect">
                <a:avLst/>
              </a:prstGeom>
            </p:spPr>
          </p:pic>
          <p:sp>
            <p:nvSpPr>
              <p:cNvPr id="12" name="TextBox 11">
                <a:extLst>
                  <a:ext uri="{FF2B5EF4-FFF2-40B4-BE49-F238E27FC236}">
                    <a16:creationId xmlns:a16="http://schemas.microsoft.com/office/drawing/2014/main" id="{61BB0654-2EFE-A367-FDA9-C28936DC9151}"/>
                  </a:ext>
                </a:extLst>
              </p:cNvPr>
              <p:cNvSpPr txBox="1"/>
              <p:nvPr/>
            </p:nvSpPr>
            <p:spPr>
              <a:xfrm>
                <a:off x="2286000" y="2823223"/>
                <a:ext cx="1339273" cy="646331"/>
              </a:xfrm>
              <a:prstGeom prst="rect">
                <a:avLst/>
              </a:prstGeom>
              <a:noFill/>
            </p:spPr>
            <p:txBody>
              <a:bodyPr wrap="square" rtlCol="0">
                <a:spAutoFit/>
              </a:bodyPr>
              <a:lstStyle/>
              <a:p>
                <a:pPr algn="ctr"/>
                <a:r>
                  <a:rPr lang="en-US">
                    <a:solidFill>
                      <a:schemeClr val="tx1">
                        <a:lumMod val="85000"/>
                        <a:lumOff val="15000"/>
                      </a:schemeClr>
                    </a:solidFill>
                    <a:latin typeface="+mj-lt"/>
                  </a:rPr>
                  <a:t>2023 RATING</a:t>
                </a:r>
              </a:p>
            </p:txBody>
          </p:sp>
        </p:grpSp>
        <p:grpSp>
          <p:nvGrpSpPr>
            <p:cNvPr id="16" name="Group 15">
              <a:extLst>
                <a:ext uri="{FF2B5EF4-FFF2-40B4-BE49-F238E27FC236}">
                  <a16:creationId xmlns:a16="http://schemas.microsoft.com/office/drawing/2014/main" id="{13494D22-79CB-9CFE-AC94-A76B94580E62}"/>
                </a:ext>
              </a:extLst>
            </p:cNvPr>
            <p:cNvGrpSpPr/>
            <p:nvPr/>
          </p:nvGrpSpPr>
          <p:grpSpPr>
            <a:xfrm>
              <a:off x="516025" y="2058327"/>
              <a:ext cx="2041236" cy="2041236"/>
              <a:chOff x="608389" y="1997338"/>
              <a:chExt cx="2041236" cy="2041236"/>
            </a:xfrm>
          </p:grpSpPr>
          <p:sp>
            <p:nvSpPr>
              <p:cNvPr id="15" name="Rectangle 14">
                <a:extLst>
                  <a:ext uri="{FF2B5EF4-FFF2-40B4-BE49-F238E27FC236}">
                    <a16:creationId xmlns:a16="http://schemas.microsoft.com/office/drawing/2014/main" id="{73C07C01-B69E-C0C9-4019-9FA91D371B71}"/>
                  </a:ext>
                </a:extLst>
              </p:cNvPr>
              <p:cNvSpPr/>
              <p:nvPr/>
            </p:nvSpPr>
            <p:spPr>
              <a:xfrm rot="20914552">
                <a:off x="788782" y="2161309"/>
                <a:ext cx="1491468" cy="17549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A2143254-EB3F-A7D5-8409-0C3CECCBDCFF}"/>
                  </a:ext>
                </a:extLst>
              </p:cNvPr>
              <p:cNvGrpSpPr/>
              <p:nvPr/>
            </p:nvGrpSpPr>
            <p:grpSpPr>
              <a:xfrm rot="20915149">
                <a:off x="608389" y="1997338"/>
                <a:ext cx="2041236" cy="2041236"/>
                <a:chOff x="249424" y="2039044"/>
                <a:chExt cx="2041236" cy="2041236"/>
              </a:xfrm>
            </p:grpSpPr>
            <p:pic>
              <p:nvPicPr>
                <p:cNvPr id="9" name="Graphic 8" descr="Paper outline">
                  <a:extLst>
                    <a:ext uri="{FF2B5EF4-FFF2-40B4-BE49-F238E27FC236}">
                      <a16:creationId xmlns:a16="http://schemas.microsoft.com/office/drawing/2014/main" id="{BA933CB8-CA03-7852-A259-CF102B91D38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9424" y="2039044"/>
                  <a:ext cx="2041236" cy="2041236"/>
                </a:xfrm>
                <a:prstGeom prst="rect">
                  <a:avLst/>
                </a:prstGeom>
              </p:spPr>
            </p:pic>
            <p:sp>
              <p:nvSpPr>
                <p:cNvPr id="10" name="TextBox 9">
                  <a:extLst>
                    <a:ext uri="{FF2B5EF4-FFF2-40B4-BE49-F238E27FC236}">
                      <a16:creationId xmlns:a16="http://schemas.microsoft.com/office/drawing/2014/main" id="{C744D1EC-C8C8-E58F-C988-7259A436F96F}"/>
                    </a:ext>
                  </a:extLst>
                </p:cNvPr>
                <p:cNvSpPr txBox="1"/>
                <p:nvPr/>
              </p:nvSpPr>
              <p:spPr>
                <a:xfrm>
                  <a:off x="582206" y="2826643"/>
                  <a:ext cx="1339273" cy="646331"/>
                </a:xfrm>
                <a:prstGeom prst="rect">
                  <a:avLst/>
                </a:prstGeom>
                <a:noFill/>
              </p:spPr>
              <p:txBody>
                <a:bodyPr wrap="square" rtlCol="0">
                  <a:spAutoFit/>
                </a:bodyPr>
                <a:lstStyle/>
                <a:p>
                  <a:pPr algn="ctr"/>
                  <a:r>
                    <a:rPr lang="en-US">
                      <a:solidFill>
                        <a:schemeClr val="tx1">
                          <a:lumMod val="85000"/>
                          <a:lumOff val="15000"/>
                        </a:schemeClr>
                      </a:solidFill>
                      <a:latin typeface="+mj-lt"/>
                    </a:rPr>
                    <a:t>”WHAT IF” RATING</a:t>
                  </a:r>
                </a:p>
              </p:txBody>
            </p:sp>
          </p:grpSp>
        </p:grpSp>
      </p:grpSp>
      <p:sp>
        <p:nvSpPr>
          <p:cNvPr id="20" name="Rectangle 19">
            <a:extLst>
              <a:ext uri="{FF2B5EF4-FFF2-40B4-BE49-F238E27FC236}">
                <a16:creationId xmlns:a16="http://schemas.microsoft.com/office/drawing/2014/main" id="{63134EC6-8BA5-BD77-9219-0A7353137F7E}"/>
              </a:ext>
            </a:extLst>
          </p:cNvPr>
          <p:cNvSpPr/>
          <p:nvPr/>
        </p:nvSpPr>
        <p:spPr>
          <a:xfrm>
            <a:off x="1839932" y="3196124"/>
            <a:ext cx="628073" cy="302491"/>
          </a:xfrm>
          <a:prstGeom prst="rect">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lumMod val="85000"/>
                    <a:lumOff val="15000"/>
                  </a:schemeClr>
                </a:solidFill>
                <a:latin typeface="+mj-lt"/>
              </a:rPr>
              <a:t>AND</a:t>
            </a:r>
          </a:p>
        </p:txBody>
      </p:sp>
    </p:spTree>
    <p:extLst>
      <p:ext uri="{BB962C8B-B14F-4D97-AF65-F5344CB8AC3E}">
        <p14:creationId xmlns:p14="http://schemas.microsoft.com/office/powerpoint/2010/main" val="129485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8FC597A-BD61-0C4A-9DFB-B0783ED0E969}"/>
              </a:ext>
            </a:extLst>
          </p:cNvPr>
          <p:cNvGraphicFramePr>
            <a:graphicFrameLocks noChangeAspect="1"/>
          </p:cNvGraphicFramePr>
          <p:nvPr>
            <p:custDataLst>
              <p:tags r:id="rId1"/>
            </p:custDataLst>
            <p:extLst>
              <p:ext uri="{D42A27DB-BD31-4B8C-83A1-F6EECF244321}">
                <p14:modId xmlns:p14="http://schemas.microsoft.com/office/powerpoint/2010/main" val="37519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18FC597A-BD61-0C4A-9DFB-B0783ED0E9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EDA7009-2BC5-08CF-9E0E-3AAC17A15DB1}"/>
              </a:ext>
            </a:extLst>
          </p:cNvPr>
          <p:cNvSpPr>
            <a:spLocks noGrp="1"/>
          </p:cNvSpPr>
          <p:nvPr>
            <p:ph type="ctrTitle"/>
          </p:nvPr>
        </p:nvSpPr>
        <p:spPr>
          <a:xfrm>
            <a:off x="1562595" y="2804295"/>
            <a:ext cx="9386446" cy="1100516"/>
          </a:xfrm>
        </p:spPr>
        <p:txBody>
          <a:bodyPr vert="horz"/>
          <a:lstStyle/>
          <a:p>
            <a:pPr algn="ctr"/>
            <a:r>
              <a:rPr lang="en-US" sz="3600"/>
              <a:t>“What If” Ratings</a:t>
            </a:r>
            <a:br>
              <a:rPr lang="en-US" sz="3600"/>
            </a:br>
            <a:r>
              <a:rPr lang="en-US" sz="2800" i="1"/>
              <a:t>Let’s get familiar with changes to A-F</a:t>
            </a:r>
          </a:p>
        </p:txBody>
      </p:sp>
    </p:spTree>
    <p:extLst>
      <p:ext uri="{BB962C8B-B14F-4D97-AF65-F5344CB8AC3E}">
        <p14:creationId xmlns:p14="http://schemas.microsoft.com/office/powerpoint/2010/main" val="390029730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D3EBA90-9E2E-26E0-0A99-1502AB34C3B6}"/>
              </a:ext>
            </a:extLst>
          </p:cNvPr>
          <p:cNvGraphicFramePr>
            <a:graphicFrameLocks noChangeAspect="1"/>
          </p:cNvGraphicFramePr>
          <p:nvPr>
            <p:custDataLst>
              <p:tags r:id="rId1"/>
            </p:custDataLst>
            <p:extLst>
              <p:ext uri="{D42A27DB-BD31-4B8C-83A1-F6EECF244321}">
                <p14:modId xmlns:p14="http://schemas.microsoft.com/office/powerpoint/2010/main" val="1710942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7D3EBA90-9E2E-26E0-0A99-1502AB34C3B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D03A14E-0327-76B4-4D43-018EAFE80796}"/>
              </a:ext>
            </a:extLst>
          </p:cNvPr>
          <p:cNvSpPr>
            <a:spLocks noGrp="1"/>
          </p:cNvSpPr>
          <p:nvPr>
            <p:ph type="title"/>
          </p:nvPr>
        </p:nvSpPr>
        <p:spPr/>
        <p:txBody>
          <a:bodyPr vert="horz">
            <a:noAutofit/>
          </a:bodyPr>
          <a:lstStyle/>
          <a:p>
            <a:r>
              <a:rPr lang="en-US" sz="2800">
                <a:solidFill>
                  <a:schemeClr val="tx1"/>
                </a:solidFill>
                <a:highlight>
                  <a:srgbClr val="FFFF00"/>
                </a:highlight>
              </a:rPr>
              <a:t>[Customize] </a:t>
            </a:r>
            <a:r>
              <a:rPr lang="en-US" sz="2800"/>
              <a:t>“What If” ratings for </a:t>
            </a:r>
            <a:r>
              <a:rPr lang="en-US" sz="2800">
                <a:solidFill>
                  <a:schemeClr val="tx1"/>
                </a:solidFill>
                <a:highlight>
                  <a:srgbClr val="FFFF00"/>
                </a:highlight>
              </a:rPr>
              <a:t>[campus A - elementary]</a:t>
            </a:r>
          </a:p>
        </p:txBody>
      </p:sp>
      <p:graphicFrame>
        <p:nvGraphicFramePr>
          <p:cNvPr id="6" name="Table 5">
            <a:extLst>
              <a:ext uri="{FF2B5EF4-FFF2-40B4-BE49-F238E27FC236}">
                <a16:creationId xmlns:a16="http://schemas.microsoft.com/office/drawing/2014/main" id="{21B5892B-214B-3921-AF1C-489AC63B2F5F}"/>
              </a:ext>
            </a:extLst>
          </p:cNvPr>
          <p:cNvGraphicFramePr>
            <a:graphicFrameLocks/>
          </p:cNvGraphicFramePr>
          <p:nvPr/>
        </p:nvGraphicFramePr>
        <p:xfrm>
          <a:off x="472092" y="1421476"/>
          <a:ext cx="11247815" cy="4453959"/>
        </p:xfrm>
        <a:graphic>
          <a:graphicData uri="http://schemas.openxmlformats.org/drawingml/2006/table">
            <a:tbl>
              <a:tblPr firstRow="1" bandRow="1">
                <a:tableStyleId>{5C22544A-7EE6-4342-B048-85BDC9FD1C3A}</a:tableStyleId>
              </a:tblPr>
              <a:tblGrid>
                <a:gridCol w="2265619">
                  <a:extLst>
                    <a:ext uri="{9D8B030D-6E8A-4147-A177-3AD203B41FA5}">
                      <a16:colId xmlns:a16="http://schemas.microsoft.com/office/drawing/2014/main" val="2460035832"/>
                    </a:ext>
                  </a:extLst>
                </a:gridCol>
                <a:gridCol w="1221905">
                  <a:extLst>
                    <a:ext uri="{9D8B030D-6E8A-4147-A177-3AD203B41FA5}">
                      <a16:colId xmlns:a16="http://schemas.microsoft.com/office/drawing/2014/main" val="270008210"/>
                    </a:ext>
                  </a:extLst>
                </a:gridCol>
                <a:gridCol w="1608738">
                  <a:extLst>
                    <a:ext uri="{9D8B030D-6E8A-4147-A177-3AD203B41FA5}">
                      <a16:colId xmlns:a16="http://schemas.microsoft.com/office/drawing/2014/main" val="3965508422"/>
                    </a:ext>
                  </a:extLst>
                </a:gridCol>
                <a:gridCol w="6151553">
                  <a:extLst>
                    <a:ext uri="{9D8B030D-6E8A-4147-A177-3AD203B41FA5}">
                      <a16:colId xmlns:a16="http://schemas.microsoft.com/office/drawing/2014/main" val="2432764043"/>
                    </a:ext>
                  </a:extLst>
                </a:gridCol>
              </a:tblGrid>
              <a:tr h="506533">
                <a:tc>
                  <a:txBody>
                    <a:bodyPr/>
                    <a:lstStyle/>
                    <a:p>
                      <a:endParaRPr lang="en-US" sz="1600"/>
                    </a:p>
                  </a:txBody>
                  <a:tcPr anchor="ctr"/>
                </a:tc>
                <a:tc>
                  <a:txBody>
                    <a:bodyPr/>
                    <a:lstStyle/>
                    <a:p>
                      <a:r>
                        <a:rPr lang="en-US" sz="1600"/>
                        <a:t>2022 Score</a:t>
                      </a:r>
                    </a:p>
                  </a:txBody>
                  <a:tcPr anchor="ctr"/>
                </a:tc>
                <a:tc>
                  <a:txBody>
                    <a:bodyPr/>
                    <a:lstStyle/>
                    <a:p>
                      <a:r>
                        <a:rPr lang="en-US" sz="1600"/>
                        <a:t>What If Score</a:t>
                      </a:r>
                    </a:p>
                    <a:p>
                      <a:r>
                        <a:rPr lang="en-US" sz="1200" b="0" i="0"/>
                        <a:t>(2022 data &amp; 2023 methodology)</a:t>
                      </a:r>
                    </a:p>
                  </a:txBody>
                  <a:tcPr anchor="ctr"/>
                </a:tc>
                <a:tc>
                  <a:txBody>
                    <a:bodyPr/>
                    <a:lstStyle/>
                    <a:p>
                      <a:r>
                        <a:rPr lang="en-US" sz="1600"/>
                        <a:t>Changes to methodology</a:t>
                      </a:r>
                    </a:p>
                  </a:txBody>
                  <a:tcPr anchor="ctr"/>
                </a:tc>
                <a:extLst>
                  <a:ext uri="{0D108BD9-81ED-4DB2-BD59-A6C34878D82A}">
                    <a16:rowId xmlns:a16="http://schemas.microsoft.com/office/drawing/2014/main" val="2937890691"/>
                  </a:ext>
                </a:extLst>
              </a:tr>
              <a:tr h="726765">
                <a:tc>
                  <a:txBody>
                    <a:bodyPr/>
                    <a:lstStyle/>
                    <a:p>
                      <a:r>
                        <a:rPr lang="en-US" sz="1400"/>
                        <a:t>Domain 1 Student Achievement</a:t>
                      </a:r>
                    </a:p>
                  </a:txBody>
                  <a:tcPr anchor="ctr"/>
                </a:tc>
                <a:tc>
                  <a:txBody>
                    <a:bodyPr/>
                    <a:lstStyle/>
                    <a:p>
                      <a:r>
                        <a:rPr lang="en-US" sz="140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highlight>
                            <a:srgbClr val="FFFF00"/>
                          </a:highlight>
                        </a:rPr>
                        <a:t>[enter]</a:t>
                      </a:r>
                    </a:p>
                  </a:txBody>
                  <a:tcPr anchor="ctr"/>
                </a:tc>
                <a:tc>
                  <a:txBody>
                    <a:bodyPr/>
                    <a:lstStyle/>
                    <a:p>
                      <a:r>
                        <a:rPr lang="en-US" sz="1200"/>
                        <a:t>No change for elementary and middle schools.</a:t>
                      </a:r>
                    </a:p>
                    <a:p>
                      <a:r>
                        <a:rPr lang="en-US" sz="1200"/>
                        <a:t>High schools and K-12s have increased standards for college, career, and military readiness and graduation rates. </a:t>
                      </a:r>
                      <a:endParaRPr lang="en-US" sz="1200" kern="1200">
                        <a:solidFill>
                          <a:schemeClr val="dk1"/>
                        </a:solidFill>
                        <a:latin typeface="+mn-lt"/>
                        <a:ea typeface="+mn-ea"/>
                        <a:cs typeface="+mn-cs"/>
                      </a:endParaRPr>
                    </a:p>
                  </a:txBody>
                  <a:tcPr anchor="ctr"/>
                </a:tc>
                <a:extLst>
                  <a:ext uri="{0D108BD9-81ED-4DB2-BD59-A6C34878D82A}">
                    <a16:rowId xmlns:a16="http://schemas.microsoft.com/office/drawing/2014/main" val="3304232842"/>
                  </a:ext>
                </a:extLst>
              </a:tr>
              <a:tr h="374394">
                <a:tc>
                  <a:txBody>
                    <a:bodyPr/>
                    <a:lstStyle/>
                    <a:p>
                      <a:r>
                        <a:rPr lang="en-US" sz="1400"/>
                        <a:t>Domain 2 Student Progress</a:t>
                      </a:r>
                    </a:p>
                  </a:txBody>
                  <a:tcPr anchor="ctr"/>
                </a:tc>
                <a:tc>
                  <a:txBody>
                    <a:bodyPr/>
                    <a:lstStyle/>
                    <a:p>
                      <a:r>
                        <a:rPr lang="en-US" sz="140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highlight>
                            <a:srgbClr val="FFFF00"/>
                          </a:highlight>
                        </a:rPr>
                        <a:t>[enter]</a:t>
                      </a:r>
                    </a:p>
                  </a:txBody>
                  <a:tcPr anchor="ctr"/>
                </a:tc>
                <a:tc>
                  <a:txBody>
                    <a:bodyPr/>
                    <a:lstStyle/>
                    <a:p>
                      <a:r>
                        <a:rPr lang="en-US" sz="1200"/>
                        <a:t>No change in methodology.  Continues to be best of Domain 2a and 2b.</a:t>
                      </a:r>
                    </a:p>
                  </a:txBody>
                  <a:tcPr anchor="ctr"/>
                </a:tc>
                <a:extLst>
                  <a:ext uri="{0D108BD9-81ED-4DB2-BD59-A6C34878D82A}">
                    <a16:rowId xmlns:a16="http://schemas.microsoft.com/office/drawing/2014/main" val="4063796448"/>
                  </a:ext>
                </a:extLst>
              </a:tr>
              <a:tr h="462487">
                <a:tc>
                  <a:txBody>
                    <a:bodyPr/>
                    <a:lstStyle/>
                    <a:p>
                      <a:pPr marL="119063" indent="3175"/>
                      <a:r>
                        <a:rPr lang="en-US" sz="1400" i="0"/>
                        <a:t>Domain 2a Academic Growth</a:t>
                      </a:r>
                    </a:p>
                  </a:txBody>
                  <a:tcPr anchor="ctr"/>
                </a:tc>
                <a:tc>
                  <a:txBody>
                    <a:bodyPr/>
                    <a:lstStyle/>
                    <a:p>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i="0">
                          <a:highlight>
                            <a:srgbClr val="FFFF00"/>
                          </a:highlight>
                        </a:rPr>
                        <a:t>[enter]</a:t>
                      </a:r>
                    </a:p>
                  </a:txBody>
                  <a:tcPr anchor="ctr"/>
                </a:tc>
                <a:tc>
                  <a:txBody>
                    <a:bodyPr/>
                    <a:lstStyle/>
                    <a:p>
                      <a:r>
                        <a:rPr lang="en-US" sz="1200" i="0"/>
                        <a:t>Updates methodology to capture growth for more students and includes learning acceleration.</a:t>
                      </a:r>
                    </a:p>
                  </a:txBody>
                  <a:tcPr anchor="ctr"/>
                </a:tc>
                <a:extLst>
                  <a:ext uri="{0D108BD9-81ED-4DB2-BD59-A6C34878D82A}">
                    <a16:rowId xmlns:a16="http://schemas.microsoft.com/office/drawing/2014/main" val="1273416240"/>
                  </a:ext>
                </a:extLst>
              </a:tr>
              <a:tr h="374394">
                <a:tc>
                  <a:txBody>
                    <a:bodyPr/>
                    <a:lstStyle/>
                    <a:p>
                      <a:pPr marL="119063" indent="3175" algn="l" defTabSz="914400" rtl="0" eaLnBrk="1" latinLnBrk="0" hangingPunct="1"/>
                      <a:r>
                        <a:rPr lang="en-US" sz="1400" i="0" kern="1200">
                          <a:solidFill>
                            <a:schemeClr val="dk1"/>
                          </a:solidFill>
                          <a:latin typeface="+mn-lt"/>
                          <a:ea typeface="+mn-ea"/>
                          <a:cs typeface="+mn-cs"/>
                        </a:rPr>
                        <a:t>Domain 2b Relative Performance</a:t>
                      </a:r>
                    </a:p>
                  </a:txBody>
                  <a:tcPr anchor="ctr"/>
                </a:tc>
                <a:tc>
                  <a:txBody>
                    <a:bodyPr/>
                    <a:lstStyle/>
                    <a:p>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i="0">
                          <a:highlight>
                            <a:srgbClr val="FFFF00"/>
                          </a:highlight>
                        </a:rPr>
                        <a:t>[enter]</a:t>
                      </a:r>
                    </a:p>
                  </a:txBody>
                  <a:tcPr anchor="ctr"/>
                </a:tc>
                <a:tc>
                  <a:txBody>
                    <a:bodyPr/>
                    <a:lstStyle/>
                    <a:p>
                      <a:r>
                        <a:rPr lang="en-US" sz="1200" i="0"/>
                        <a:t>No change for elementary and middle schools.</a:t>
                      </a:r>
                    </a:p>
                    <a:p>
                      <a:r>
                        <a:rPr lang="en-US" sz="1200" i="0"/>
                        <a:t>High school recalculated given recent improvements in college, career, and military readiness.  </a:t>
                      </a:r>
                    </a:p>
                  </a:txBody>
                  <a:tcPr anchor="ctr"/>
                </a:tc>
                <a:extLst>
                  <a:ext uri="{0D108BD9-81ED-4DB2-BD59-A6C34878D82A}">
                    <a16:rowId xmlns:a16="http://schemas.microsoft.com/office/drawing/2014/main" val="2572518059"/>
                  </a:ext>
                </a:extLst>
              </a:tr>
              <a:tr h="374394">
                <a:tc>
                  <a:txBody>
                    <a:bodyPr/>
                    <a:lstStyle/>
                    <a:p>
                      <a:r>
                        <a:rPr lang="en-US" sz="1400" i="0"/>
                        <a:t>Best of Domain 1 and Domain 2</a:t>
                      </a:r>
                    </a:p>
                  </a:txBody>
                  <a:tcPr anchor="ctr"/>
                </a:tc>
                <a:tc>
                  <a:txBody>
                    <a:bodyPr/>
                    <a:lstStyle/>
                    <a:p>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i="0"/>
                        <a:t>No change in methodology.  70% of overall rating continues to be the best of Domain 1 and 2.</a:t>
                      </a:r>
                    </a:p>
                  </a:txBody>
                  <a:tcPr anchor="ctr"/>
                </a:tc>
                <a:extLst>
                  <a:ext uri="{0D108BD9-81ED-4DB2-BD59-A6C34878D82A}">
                    <a16:rowId xmlns:a16="http://schemas.microsoft.com/office/drawing/2014/main" val="2029422566"/>
                  </a:ext>
                </a:extLst>
              </a:tr>
              <a:tr h="462487">
                <a:tc>
                  <a:txBody>
                    <a:bodyPr/>
                    <a:lstStyle/>
                    <a:p>
                      <a:r>
                        <a:rPr lang="en-US" sz="1400"/>
                        <a:t>Domain 3 Closing the Gaps</a:t>
                      </a:r>
                    </a:p>
                  </a:txBody>
                  <a:tcPr anchor="ctr"/>
                </a:tc>
                <a:tc>
                  <a:txBody>
                    <a:bodyPr/>
                    <a:lstStyle/>
                    <a:p>
                      <a:r>
                        <a:rPr lang="en-US" sz="140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Includes more students with a minimum size of 10. Moves from a yes/no to a 0-4 methodology to improve differentiation. Tabulations now focus on just the student groups most in need.  Aligned with updated long-term targets.  </a:t>
                      </a:r>
                    </a:p>
                  </a:txBody>
                  <a:tcPr anchor="ctr"/>
                </a:tc>
                <a:extLst>
                  <a:ext uri="{0D108BD9-81ED-4DB2-BD59-A6C34878D82A}">
                    <a16:rowId xmlns:a16="http://schemas.microsoft.com/office/drawing/2014/main" val="319962496"/>
                  </a:ext>
                </a:extLst>
              </a:tr>
              <a:tr h="330348">
                <a:tc>
                  <a:txBody>
                    <a:bodyPr/>
                    <a:lstStyle/>
                    <a:p>
                      <a:r>
                        <a:rPr lang="en-US" sz="1400"/>
                        <a:t>Overall</a:t>
                      </a:r>
                    </a:p>
                  </a:txBody>
                  <a:tcPr anchor="ctr"/>
                </a:tc>
                <a:tc>
                  <a:txBody>
                    <a:bodyPr/>
                    <a:lstStyle/>
                    <a:p>
                      <a:r>
                        <a:rPr lang="en-US" sz="140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highlight>
                            <a:srgbClr val="FFFF00"/>
                          </a:highlight>
                        </a:rPr>
                        <a:t>[enter]</a:t>
                      </a:r>
                    </a:p>
                  </a:txBody>
                  <a:tcPr anchor="ctr"/>
                </a:tc>
                <a:tc>
                  <a:txBody>
                    <a:bodyPr/>
                    <a:lstStyle/>
                    <a:p>
                      <a:r>
                        <a:rPr lang="en-US" sz="1200"/>
                        <a:t>If a school has &lt;70 in 3 out of the 4 areas (Domain 1, Doman 2a, Domain 2b, Domain 3), the highest overall they can receive is a 69.*</a:t>
                      </a:r>
                    </a:p>
                  </a:txBody>
                  <a:tcPr anchor="ctr"/>
                </a:tc>
                <a:extLst>
                  <a:ext uri="{0D108BD9-81ED-4DB2-BD59-A6C34878D82A}">
                    <a16:rowId xmlns:a16="http://schemas.microsoft.com/office/drawing/2014/main" val="2804664255"/>
                  </a:ext>
                </a:extLst>
              </a:tr>
            </a:tbl>
          </a:graphicData>
        </a:graphic>
      </p:graphicFrame>
      <p:sp>
        <p:nvSpPr>
          <p:cNvPr id="7" name="TextBox 6">
            <a:extLst>
              <a:ext uri="{FF2B5EF4-FFF2-40B4-BE49-F238E27FC236}">
                <a16:creationId xmlns:a16="http://schemas.microsoft.com/office/drawing/2014/main" id="{115C1C90-5CBF-8738-8513-3D3A751ACB04}"/>
              </a:ext>
            </a:extLst>
          </p:cNvPr>
          <p:cNvSpPr txBox="1"/>
          <p:nvPr/>
        </p:nvSpPr>
        <p:spPr>
          <a:xfrm>
            <a:off x="89452" y="6435496"/>
            <a:ext cx="8640457" cy="261610"/>
          </a:xfrm>
          <a:prstGeom prst="rect">
            <a:avLst/>
          </a:prstGeom>
          <a:noFill/>
        </p:spPr>
        <p:txBody>
          <a:bodyPr wrap="square">
            <a:spAutoFit/>
          </a:bodyPr>
          <a:lstStyle/>
          <a:p>
            <a:r>
              <a:rPr lang="en-US" sz="1050"/>
              <a:t>*This doesn’t apply to dropout recovery schools or if Domain 1 is the one area with a score of 70+. </a:t>
            </a:r>
          </a:p>
        </p:txBody>
      </p:sp>
    </p:spTree>
    <p:extLst>
      <p:ext uri="{BB962C8B-B14F-4D97-AF65-F5344CB8AC3E}">
        <p14:creationId xmlns:p14="http://schemas.microsoft.com/office/powerpoint/2010/main" val="20196713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03A14E-0327-76B4-4D43-018EAFE80796}"/>
              </a:ext>
            </a:extLst>
          </p:cNvPr>
          <p:cNvSpPr>
            <a:spLocks noGrp="1"/>
          </p:cNvSpPr>
          <p:nvPr>
            <p:ph type="title"/>
          </p:nvPr>
        </p:nvSpPr>
        <p:spPr/>
        <p:txBody>
          <a:bodyPr>
            <a:noAutofit/>
          </a:bodyPr>
          <a:lstStyle/>
          <a:p>
            <a:r>
              <a:rPr lang="en-US" sz="2800">
                <a:solidFill>
                  <a:schemeClr val="tx1"/>
                </a:solidFill>
                <a:highlight>
                  <a:srgbClr val="FFFF00"/>
                </a:highlight>
              </a:rPr>
              <a:t>[Customize] </a:t>
            </a:r>
            <a:r>
              <a:rPr lang="en-US" sz="2800"/>
              <a:t>“What If” ratings for </a:t>
            </a:r>
            <a:r>
              <a:rPr lang="en-US" sz="2800">
                <a:solidFill>
                  <a:schemeClr val="tx1"/>
                </a:solidFill>
                <a:highlight>
                  <a:srgbClr val="FFFF00"/>
                </a:highlight>
              </a:rPr>
              <a:t>[campus B – high school]</a:t>
            </a:r>
          </a:p>
        </p:txBody>
      </p:sp>
      <p:graphicFrame>
        <p:nvGraphicFramePr>
          <p:cNvPr id="6" name="Table 5">
            <a:extLst>
              <a:ext uri="{FF2B5EF4-FFF2-40B4-BE49-F238E27FC236}">
                <a16:creationId xmlns:a16="http://schemas.microsoft.com/office/drawing/2014/main" id="{21B5892B-214B-3921-AF1C-489AC63B2F5F}"/>
              </a:ext>
            </a:extLst>
          </p:cNvPr>
          <p:cNvGraphicFramePr>
            <a:graphicFrameLocks/>
          </p:cNvGraphicFramePr>
          <p:nvPr>
            <p:extLst>
              <p:ext uri="{D42A27DB-BD31-4B8C-83A1-F6EECF244321}">
                <p14:modId xmlns:p14="http://schemas.microsoft.com/office/powerpoint/2010/main" val="3108359176"/>
              </p:ext>
            </p:extLst>
          </p:nvPr>
        </p:nvGraphicFramePr>
        <p:xfrm>
          <a:off x="472092" y="1421476"/>
          <a:ext cx="11247815" cy="4453959"/>
        </p:xfrm>
        <a:graphic>
          <a:graphicData uri="http://schemas.openxmlformats.org/drawingml/2006/table">
            <a:tbl>
              <a:tblPr firstRow="1" bandRow="1">
                <a:tableStyleId>{5C22544A-7EE6-4342-B048-85BDC9FD1C3A}</a:tableStyleId>
              </a:tblPr>
              <a:tblGrid>
                <a:gridCol w="2265619">
                  <a:extLst>
                    <a:ext uri="{9D8B030D-6E8A-4147-A177-3AD203B41FA5}">
                      <a16:colId xmlns:a16="http://schemas.microsoft.com/office/drawing/2014/main" val="2460035832"/>
                    </a:ext>
                  </a:extLst>
                </a:gridCol>
                <a:gridCol w="1221905">
                  <a:extLst>
                    <a:ext uri="{9D8B030D-6E8A-4147-A177-3AD203B41FA5}">
                      <a16:colId xmlns:a16="http://schemas.microsoft.com/office/drawing/2014/main" val="270008210"/>
                    </a:ext>
                  </a:extLst>
                </a:gridCol>
                <a:gridCol w="1608738">
                  <a:extLst>
                    <a:ext uri="{9D8B030D-6E8A-4147-A177-3AD203B41FA5}">
                      <a16:colId xmlns:a16="http://schemas.microsoft.com/office/drawing/2014/main" val="3965508422"/>
                    </a:ext>
                  </a:extLst>
                </a:gridCol>
                <a:gridCol w="6151553">
                  <a:extLst>
                    <a:ext uri="{9D8B030D-6E8A-4147-A177-3AD203B41FA5}">
                      <a16:colId xmlns:a16="http://schemas.microsoft.com/office/drawing/2014/main" val="2432764043"/>
                    </a:ext>
                  </a:extLst>
                </a:gridCol>
              </a:tblGrid>
              <a:tr h="506533">
                <a:tc>
                  <a:txBody>
                    <a:bodyPr/>
                    <a:lstStyle/>
                    <a:p>
                      <a:endParaRPr lang="en-US" sz="1600"/>
                    </a:p>
                  </a:txBody>
                  <a:tcPr anchor="ctr"/>
                </a:tc>
                <a:tc>
                  <a:txBody>
                    <a:bodyPr/>
                    <a:lstStyle/>
                    <a:p>
                      <a:r>
                        <a:rPr lang="en-US" sz="1600"/>
                        <a:t>2022 Score</a:t>
                      </a:r>
                    </a:p>
                  </a:txBody>
                  <a:tcPr anchor="ctr"/>
                </a:tc>
                <a:tc>
                  <a:txBody>
                    <a:bodyPr/>
                    <a:lstStyle/>
                    <a:p>
                      <a:r>
                        <a:rPr lang="en-US" sz="1600"/>
                        <a:t>What If Score</a:t>
                      </a:r>
                    </a:p>
                    <a:p>
                      <a:r>
                        <a:rPr lang="en-US" sz="1200" b="0" i="0"/>
                        <a:t>(2022 data &amp; 2023 methodology)</a:t>
                      </a:r>
                    </a:p>
                  </a:txBody>
                  <a:tcPr anchor="ctr"/>
                </a:tc>
                <a:tc>
                  <a:txBody>
                    <a:bodyPr/>
                    <a:lstStyle/>
                    <a:p>
                      <a:r>
                        <a:rPr lang="en-US" sz="1600"/>
                        <a:t>Changes to methodology</a:t>
                      </a:r>
                    </a:p>
                  </a:txBody>
                  <a:tcPr anchor="ctr"/>
                </a:tc>
                <a:extLst>
                  <a:ext uri="{0D108BD9-81ED-4DB2-BD59-A6C34878D82A}">
                    <a16:rowId xmlns:a16="http://schemas.microsoft.com/office/drawing/2014/main" val="2937890691"/>
                  </a:ext>
                </a:extLst>
              </a:tr>
              <a:tr h="726765">
                <a:tc>
                  <a:txBody>
                    <a:bodyPr/>
                    <a:lstStyle/>
                    <a:p>
                      <a:r>
                        <a:rPr lang="en-US" sz="1400" i="0"/>
                        <a:t>Domain 1 Student Achievement</a:t>
                      </a:r>
                    </a:p>
                  </a:txBody>
                  <a:tcPr anchor="ctr"/>
                </a:tc>
                <a:tc>
                  <a:txBody>
                    <a:bodyPr/>
                    <a:lstStyle/>
                    <a:p>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i="0">
                          <a:highlight>
                            <a:srgbClr val="FFFF00"/>
                          </a:highlight>
                        </a:rPr>
                        <a:t>[enter]</a:t>
                      </a:r>
                    </a:p>
                  </a:txBody>
                  <a:tcPr anchor="ctr"/>
                </a:tc>
                <a:tc>
                  <a:txBody>
                    <a:bodyPr/>
                    <a:lstStyle/>
                    <a:p>
                      <a:r>
                        <a:rPr lang="en-US" sz="1200"/>
                        <a:t>No change for elementary and middle schools.</a:t>
                      </a:r>
                    </a:p>
                    <a:p>
                      <a:r>
                        <a:rPr lang="en-US" sz="1200"/>
                        <a:t>High schools and K-12s have increased standards for college, career, and military readiness and graduation rates. </a:t>
                      </a:r>
                      <a:endParaRPr lang="en-US" sz="1200" kern="1200">
                        <a:solidFill>
                          <a:schemeClr val="dk1"/>
                        </a:solidFill>
                        <a:latin typeface="+mn-lt"/>
                        <a:ea typeface="+mn-ea"/>
                        <a:cs typeface="+mn-cs"/>
                      </a:endParaRPr>
                    </a:p>
                  </a:txBody>
                  <a:tcPr anchor="ctr"/>
                </a:tc>
                <a:extLst>
                  <a:ext uri="{0D108BD9-81ED-4DB2-BD59-A6C34878D82A}">
                    <a16:rowId xmlns:a16="http://schemas.microsoft.com/office/drawing/2014/main" val="3304232842"/>
                  </a:ext>
                </a:extLst>
              </a:tr>
              <a:tr h="374394">
                <a:tc>
                  <a:txBody>
                    <a:bodyPr/>
                    <a:lstStyle/>
                    <a:p>
                      <a:r>
                        <a:rPr lang="en-US" sz="1400" i="0"/>
                        <a:t>Domain 2 Student Progress</a:t>
                      </a:r>
                    </a:p>
                  </a:txBody>
                  <a:tcPr anchor="ctr"/>
                </a:tc>
                <a:tc>
                  <a:txBody>
                    <a:bodyPr/>
                    <a:lstStyle/>
                    <a:p>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i="0">
                          <a:highlight>
                            <a:srgbClr val="FFFF00"/>
                          </a:highlight>
                        </a:rPr>
                        <a:t>[enter]</a:t>
                      </a:r>
                    </a:p>
                  </a:txBody>
                  <a:tcPr anchor="ctr"/>
                </a:tc>
                <a:tc>
                  <a:txBody>
                    <a:bodyPr/>
                    <a:lstStyle/>
                    <a:p>
                      <a:r>
                        <a:rPr lang="en-US" sz="1200"/>
                        <a:t>No change in methodology.  Continues to be best of Domain 2a and 2b.</a:t>
                      </a:r>
                    </a:p>
                  </a:txBody>
                  <a:tcPr anchor="ctr"/>
                </a:tc>
                <a:extLst>
                  <a:ext uri="{0D108BD9-81ED-4DB2-BD59-A6C34878D82A}">
                    <a16:rowId xmlns:a16="http://schemas.microsoft.com/office/drawing/2014/main" val="4063796448"/>
                  </a:ext>
                </a:extLst>
              </a:tr>
              <a:tr h="462487">
                <a:tc>
                  <a:txBody>
                    <a:bodyPr/>
                    <a:lstStyle/>
                    <a:p>
                      <a:pPr marL="119063" indent="3175"/>
                      <a:r>
                        <a:rPr lang="en-US" sz="1400" i="0"/>
                        <a:t>Domain 2a Academic Growth</a:t>
                      </a:r>
                    </a:p>
                  </a:txBody>
                  <a:tcPr anchor="ctr"/>
                </a:tc>
                <a:tc>
                  <a:txBody>
                    <a:bodyPr/>
                    <a:lstStyle/>
                    <a:p>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i="0">
                          <a:highlight>
                            <a:srgbClr val="FFFF00"/>
                          </a:highlight>
                        </a:rPr>
                        <a:t>[enter]</a:t>
                      </a:r>
                    </a:p>
                  </a:txBody>
                  <a:tcPr anchor="ctr"/>
                </a:tc>
                <a:tc>
                  <a:txBody>
                    <a:bodyPr/>
                    <a:lstStyle/>
                    <a:p>
                      <a:r>
                        <a:rPr lang="en-US" sz="1200" i="0"/>
                        <a:t>Updates methodology to capture growth for more students and includes learning acceleration.</a:t>
                      </a:r>
                    </a:p>
                  </a:txBody>
                  <a:tcPr anchor="ctr"/>
                </a:tc>
                <a:extLst>
                  <a:ext uri="{0D108BD9-81ED-4DB2-BD59-A6C34878D82A}">
                    <a16:rowId xmlns:a16="http://schemas.microsoft.com/office/drawing/2014/main" val="1273416240"/>
                  </a:ext>
                </a:extLst>
              </a:tr>
              <a:tr h="374394">
                <a:tc>
                  <a:txBody>
                    <a:bodyPr/>
                    <a:lstStyle/>
                    <a:p>
                      <a:pPr marL="119063" indent="3175" algn="l" defTabSz="914400" rtl="0" eaLnBrk="1" latinLnBrk="0" hangingPunct="1"/>
                      <a:r>
                        <a:rPr lang="en-US" sz="1400" i="0" kern="1200">
                          <a:solidFill>
                            <a:schemeClr val="dk1"/>
                          </a:solidFill>
                          <a:latin typeface="+mn-lt"/>
                          <a:ea typeface="+mn-ea"/>
                          <a:cs typeface="+mn-cs"/>
                        </a:rPr>
                        <a:t>Domain 2b Relative Performance</a:t>
                      </a:r>
                    </a:p>
                  </a:txBody>
                  <a:tcPr anchor="ctr"/>
                </a:tc>
                <a:tc>
                  <a:txBody>
                    <a:bodyPr/>
                    <a:lstStyle/>
                    <a:p>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i="0">
                          <a:highlight>
                            <a:srgbClr val="FFFF00"/>
                          </a:highlight>
                        </a:rPr>
                        <a:t>[enter]</a:t>
                      </a:r>
                    </a:p>
                  </a:txBody>
                  <a:tcPr anchor="ctr"/>
                </a:tc>
                <a:tc>
                  <a:txBody>
                    <a:bodyPr/>
                    <a:lstStyle/>
                    <a:p>
                      <a:r>
                        <a:rPr lang="en-US" sz="1200" i="0"/>
                        <a:t>No change for elementary and middle schools.</a:t>
                      </a:r>
                    </a:p>
                    <a:p>
                      <a:r>
                        <a:rPr lang="en-US" sz="1200" i="0"/>
                        <a:t>High school recalculated given recent improvements in college, career, and military readiness.  </a:t>
                      </a:r>
                    </a:p>
                  </a:txBody>
                  <a:tcPr anchor="ctr"/>
                </a:tc>
                <a:extLst>
                  <a:ext uri="{0D108BD9-81ED-4DB2-BD59-A6C34878D82A}">
                    <a16:rowId xmlns:a16="http://schemas.microsoft.com/office/drawing/2014/main" val="2572518059"/>
                  </a:ext>
                </a:extLst>
              </a:tr>
              <a:tr h="374394">
                <a:tc>
                  <a:txBody>
                    <a:bodyPr/>
                    <a:lstStyle/>
                    <a:p>
                      <a:r>
                        <a:rPr lang="en-US" sz="1400" i="0"/>
                        <a:t>Best of Domain 1 and Domain 2</a:t>
                      </a:r>
                    </a:p>
                  </a:txBody>
                  <a:tcPr anchor="ctr"/>
                </a:tc>
                <a:tc>
                  <a:txBody>
                    <a:bodyPr/>
                    <a:lstStyle/>
                    <a:p>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i="0"/>
                        <a:t>No change in methodology.  70% of overall rating continues to be the best of Domain 1 and 2.</a:t>
                      </a:r>
                    </a:p>
                  </a:txBody>
                  <a:tcPr anchor="ctr"/>
                </a:tc>
                <a:extLst>
                  <a:ext uri="{0D108BD9-81ED-4DB2-BD59-A6C34878D82A}">
                    <a16:rowId xmlns:a16="http://schemas.microsoft.com/office/drawing/2014/main" val="2029422566"/>
                  </a:ext>
                </a:extLst>
              </a:tr>
              <a:tr h="462487">
                <a:tc>
                  <a:txBody>
                    <a:bodyPr/>
                    <a:lstStyle/>
                    <a:p>
                      <a:r>
                        <a:rPr lang="en-US" sz="1400" i="0"/>
                        <a:t>Domain 3 Closing the Gaps</a:t>
                      </a:r>
                    </a:p>
                  </a:txBody>
                  <a:tcPr anchor="ctr"/>
                </a:tc>
                <a:tc>
                  <a:txBody>
                    <a:bodyPr/>
                    <a:lstStyle/>
                    <a:p>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Includes more students with a minimum size of 10. Moves from a yes/no to a 0-4 methodology to improve differentiation. Tabulations now focus on just the student groups most in need.  Aligned with updated long-term targets.  </a:t>
                      </a:r>
                    </a:p>
                  </a:txBody>
                  <a:tcPr anchor="ctr"/>
                </a:tc>
                <a:extLst>
                  <a:ext uri="{0D108BD9-81ED-4DB2-BD59-A6C34878D82A}">
                    <a16:rowId xmlns:a16="http://schemas.microsoft.com/office/drawing/2014/main" val="319962496"/>
                  </a:ext>
                </a:extLst>
              </a:tr>
              <a:tr h="330348">
                <a:tc>
                  <a:txBody>
                    <a:bodyPr/>
                    <a:lstStyle/>
                    <a:p>
                      <a:r>
                        <a:rPr lang="en-US" sz="1400" i="0"/>
                        <a:t>Overall</a:t>
                      </a:r>
                    </a:p>
                  </a:txBody>
                  <a:tcPr anchor="ctr"/>
                </a:tc>
                <a:tc>
                  <a:txBody>
                    <a:bodyPr/>
                    <a:lstStyle/>
                    <a:p>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i="0">
                          <a:highlight>
                            <a:srgbClr val="FFFF00"/>
                          </a:highlight>
                        </a:rPr>
                        <a:t>[enter]</a:t>
                      </a:r>
                    </a:p>
                  </a:txBody>
                  <a:tcPr anchor="ctr"/>
                </a:tc>
                <a:tc>
                  <a:txBody>
                    <a:bodyPr/>
                    <a:lstStyle/>
                    <a:p>
                      <a:r>
                        <a:rPr lang="en-US" sz="1200"/>
                        <a:t>If a school has &lt;70 in 3 out of the 4 areas (Domain 1, Doman 2a, Domain 2b, Domain 3), the highest overall they can receive is a 69.*</a:t>
                      </a:r>
                    </a:p>
                  </a:txBody>
                  <a:tcPr anchor="ctr"/>
                </a:tc>
                <a:extLst>
                  <a:ext uri="{0D108BD9-81ED-4DB2-BD59-A6C34878D82A}">
                    <a16:rowId xmlns:a16="http://schemas.microsoft.com/office/drawing/2014/main" val="2804664255"/>
                  </a:ext>
                </a:extLst>
              </a:tr>
            </a:tbl>
          </a:graphicData>
        </a:graphic>
      </p:graphicFrame>
      <p:sp>
        <p:nvSpPr>
          <p:cNvPr id="7" name="TextBox 6">
            <a:extLst>
              <a:ext uri="{FF2B5EF4-FFF2-40B4-BE49-F238E27FC236}">
                <a16:creationId xmlns:a16="http://schemas.microsoft.com/office/drawing/2014/main" id="{115C1C90-5CBF-8738-8513-3D3A751ACB04}"/>
              </a:ext>
            </a:extLst>
          </p:cNvPr>
          <p:cNvSpPr txBox="1"/>
          <p:nvPr/>
        </p:nvSpPr>
        <p:spPr>
          <a:xfrm>
            <a:off x="89452" y="6435496"/>
            <a:ext cx="8640457"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rPr>
              <a:t>*This doesn’t apply to dropout recovery schools or if Domain 1 is the one area with a score of 70+. </a:t>
            </a:r>
          </a:p>
        </p:txBody>
      </p:sp>
    </p:spTree>
    <p:extLst>
      <p:ext uri="{BB962C8B-B14F-4D97-AF65-F5344CB8AC3E}">
        <p14:creationId xmlns:p14="http://schemas.microsoft.com/office/powerpoint/2010/main" val="16612662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4B1989-BB2F-9EBC-F22D-A54D94E0D7A2}"/>
              </a:ext>
            </a:extLst>
          </p:cNvPr>
          <p:cNvSpPr>
            <a:spLocks noGrp="1"/>
          </p:cNvSpPr>
          <p:nvPr>
            <p:ph type="title"/>
          </p:nvPr>
        </p:nvSpPr>
        <p:spPr/>
        <p:txBody>
          <a:bodyPr/>
          <a:lstStyle/>
          <a:p>
            <a:r>
              <a:rPr lang="en-US"/>
              <a:t>New methodology for District Ratings</a:t>
            </a:r>
          </a:p>
        </p:txBody>
      </p:sp>
      <p:sp>
        <p:nvSpPr>
          <p:cNvPr id="4" name="TextBox 1">
            <a:extLst>
              <a:ext uri="{FF2B5EF4-FFF2-40B4-BE49-F238E27FC236}">
                <a16:creationId xmlns:a16="http://schemas.microsoft.com/office/drawing/2014/main" id="{34028033-A41C-C362-505D-0CCFDE53566F}"/>
              </a:ext>
            </a:extLst>
          </p:cNvPr>
          <p:cNvSpPr txBox="1">
            <a:spLocks noGrp="1"/>
          </p:cNvSpPr>
          <p:nvPr>
            <p:ph idx="1"/>
          </p:nvPr>
        </p:nvSpPr>
        <p:spPr>
          <a:xfrm>
            <a:off x="294104" y="1142613"/>
            <a:ext cx="11544581" cy="4996240"/>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1200"/>
              </a:spcAft>
              <a:buClr>
                <a:srgbClr val="DA3E26"/>
              </a:buClr>
            </a:pPr>
            <a:r>
              <a:rPr lang="en-US" sz="2400" dirty="0">
                <a:solidFill>
                  <a:srgbClr val="0D6CB9"/>
                </a:solidFill>
                <a:latin typeface="Calibri"/>
                <a:ea typeface="Open Sans"/>
                <a:cs typeface="Open Sans"/>
              </a:rPr>
              <a:t>Prior to 2023, district ratings mirrored the K-12/High School campus system.​</a:t>
            </a:r>
          </a:p>
          <a:p>
            <a:pPr>
              <a:spcAft>
                <a:spcPts val="1200"/>
              </a:spcAft>
              <a:buClr>
                <a:srgbClr val="DA3E26"/>
              </a:buClr>
            </a:pPr>
            <a:endParaRPr lang="en-US" sz="2200">
              <a:latin typeface="Open Sans" panose="020B0606030504020204" pitchFamily="34" charset="0"/>
              <a:ea typeface="Open Sans" panose="020B0606030504020204" pitchFamily="34" charset="0"/>
              <a:cs typeface="Open Sans" panose="020B0606030504020204" pitchFamily="34" charset="0"/>
            </a:endParaRPr>
          </a:p>
          <a:p>
            <a:pPr>
              <a:spcAft>
                <a:spcPts val="1200"/>
              </a:spcAft>
              <a:buClr>
                <a:srgbClr val="DA3E26"/>
              </a:buClr>
            </a:pPr>
            <a:endParaRPr lang="en-US" sz="2200">
              <a:latin typeface="Open Sans" panose="020B0606030504020204" pitchFamily="34" charset="0"/>
              <a:ea typeface="Open Sans" panose="020B0606030504020204" pitchFamily="34" charset="0"/>
              <a:cs typeface="Open Sans" panose="020B0606030504020204" pitchFamily="34" charset="0"/>
            </a:endParaRPr>
          </a:p>
          <a:p>
            <a:pPr>
              <a:spcAft>
                <a:spcPts val="1200"/>
              </a:spcAft>
              <a:buClr>
                <a:srgbClr val="DA3E26"/>
              </a:buClr>
            </a:pPr>
            <a:endParaRPr lang="en-US" sz="2200">
              <a:latin typeface="Open Sans" panose="020B0606030504020204" pitchFamily="34" charset="0"/>
              <a:ea typeface="Open Sans" panose="020B0606030504020204" pitchFamily="34" charset="0"/>
              <a:cs typeface="Open Sans" panose="020B0606030504020204" pitchFamily="34" charset="0"/>
            </a:endParaRPr>
          </a:p>
          <a:p>
            <a:pPr>
              <a:spcAft>
                <a:spcPts val="1200"/>
              </a:spcAft>
              <a:buClr>
                <a:srgbClr val="DA3E26"/>
              </a:buClr>
            </a:pPr>
            <a:endParaRPr lang="en-US" sz="2200">
              <a:latin typeface="Open Sans" panose="020B0606030504020204" pitchFamily="34" charset="0"/>
              <a:ea typeface="Open Sans" panose="020B0606030504020204" pitchFamily="34" charset="0"/>
              <a:cs typeface="Open Sans" panose="020B0606030504020204" pitchFamily="34" charset="0"/>
            </a:endParaRPr>
          </a:p>
          <a:p>
            <a:pPr>
              <a:spcAft>
                <a:spcPts val="1200"/>
              </a:spcAft>
              <a:buClr>
                <a:srgbClr val="DA3E26"/>
              </a:buClr>
            </a:pPr>
            <a:endParaRPr lang="en-US" sz="2200">
              <a:latin typeface="Open Sans" panose="020B0606030504020204" pitchFamily="34" charset="0"/>
              <a:ea typeface="Open Sans" panose="020B0606030504020204" pitchFamily="34" charset="0"/>
              <a:cs typeface="Open Sans" panose="020B0606030504020204" pitchFamily="34" charset="0"/>
            </a:endParaRPr>
          </a:p>
          <a:p>
            <a:pPr>
              <a:spcBef>
                <a:spcPts val="600"/>
              </a:spcBef>
              <a:buClr>
                <a:srgbClr val="DA3E26"/>
              </a:buClr>
            </a:pPr>
            <a:endParaRPr lang="en-US" sz="2400">
              <a:latin typeface="Open Sans" panose="020B0606030504020204" pitchFamily="34" charset="0"/>
              <a:ea typeface="Open Sans" panose="020B0606030504020204" pitchFamily="34" charset="0"/>
              <a:cs typeface="Open Sans" panose="020B0606030504020204" pitchFamily="34" charset="0"/>
            </a:endParaRPr>
          </a:p>
          <a:p>
            <a:pPr>
              <a:spcBef>
                <a:spcPts val="600"/>
              </a:spcBef>
              <a:buClr>
                <a:srgbClr val="DA3E26"/>
              </a:buClr>
            </a:pPr>
            <a:r>
              <a:rPr lang="en-US" sz="2400" dirty="0">
                <a:solidFill>
                  <a:srgbClr val="0070C0"/>
                </a:solidFill>
                <a:latin typeface="Calibri"/>
                <a:ea typeface="Open Sans"/>
                <a:cs typeface="Open Sans"/>
              </a:rPr>
              <a:t>Starting in 2023, district ratings will instead be weighted by enrollment of grade 3-12 students on each campus. The campus weight determines how much a campus grade proportionally impacts the district rating.  </a:t>
            </a:r>
            <a:endParaRPr lang="en-US" sz="2200">
              <a:latin typeface="Calibri"/>
              <a:ea typeface="Open Sans" panose="020B0606030504020204" pitchFamily="34" charset="0"/>
              <a:cs typeface="Open Sans" panose="020B0606030504020204" pitchFamily="34" charset="0"/>
            </a:endParaRPr>
          </a:p>
        </p:txBody>
      </p:sp>
      <p:grpSp>
        <p:nvGrpSpPr>
          <p:cNvPr id="5" name="Group 4">
            <a:extLst>
              <a:ext uri="{FF2B5EF4-FFF2-40B4-BE49-F238E27FC236}">
                <a16:creationId xmlns:a16="http://schemas.microsoft.com/office/drawing/2014/main" id="{0BF86E95-80F8-45D3-829E-977A08BFB272}"/>
              </a:ext>
            </a:extLst>
          </p:cNvPr>
          <p:cNvGrpSpPr/>
          <p:nvPr/>
        </p:nvGrpSpPr>
        <p:grpSpPr>
          <a:xfrm>
            <a:off x="2535797" y="1890618"/>
            <a:ext cx="7258852" cy="2683571"/>
            <a:chOff x="2319688" y="1435362"/>
            <a:chExt cx="7305036" cy="4342289"/>
          </a:xfrm>
        </p:grpSpPr>
        <p:pic>
          <p:nvPicPr>
            <p:cNvPr id="6" name="Picture 5" descr="Background pattern&#10;&#10;Description automatically generated">
              <a:extLst>
                <a:ext uri="{FF2B5EF4-FFF2-40B4-BE49-F238E27FC236}">
                  <a16:creationId xmlns:a16="http://schemas.microsoft.com/office/drawing/2014/main" id="{9FD882A0-C759-27DF-8C6B-399D5DD6368D}"/>
                </a:ext>
              </a:extLst>
            </p:cNvPr>
            <p:cNvPicPr>
              <a:picLocks noChangeAspect="1"/>
            </p:cNvPicPr>
            <p:nvPr/>
          </p:nvPicPr>
          <p:blipFill>
            <a:blip r:embed="rId2"/>
            <a:stretch>
              <a:fillRect/>
            </a:stretch>
          </p:blipFill>
          <p:spPr>
            <a:xfrm>
              <a:off x="7196486" y="2261615"/>
              <a:ext cx="2344280" cy="2938051"/>
            </a:xfrm>
            <a:prstGeom prst="rect">
              <a:avLst/>
            </a:prstGeom>
          </p:spPr>
        </p:pic>
        <p:pic>
          <p:nvPicPr>
            <p:cNvPr id="7" name="Picture 6" descr="Background pattern&#10;&#10;Description automatically generated">
              <a:extLst>
                <a:ext uri="{FF2B5EF4-FFF2-40B4-BE49-F238E27FC236}">
                  <a16:creationId xmlns:a16="http://schemas.microsoft.com/office/drawing/2014/main" id="{29B74137-EDB7-9579-A3C6-D11A6E1C7890}"/>
                </a:ext>
              </a:extLst>
            </p:cNvPr>
            <p:cNvPicPr>
              <a:picLocks noChangeAspect="1"/>
            </p:cNvPicPr>
            <p:nvPr/>
          </p:nvPicPr>
          <p:blipFill>
            <a:blip r:embed="rId3"/>
            <a:stretch>
              <a:fillRect/>
            </a:stretch>
          </p:blipFill>
          <p:spPr>
            <a:xfrm>
              <a:off x="4768248" y="2261615"/>
              <a:ext cx="2164080" cy="2938050"/>
            </a:xfrm>
            <a:prstGeom prst="rect">
              <a:avLst/>
            </a:prstGeom>
          </p:spPr>
        </p:pic>
        <p:pic>
          <p:nvPicPr>
            <p:cNvPr id="8" name="Picture 7" descr="Background pattern&#10;&#10;Description automatically generated">
              <a:extLst>
                <a:ext uri="{FF2B5EF4-FFF2-40B4-BE49-F238E27FC236}">
                  <a16:creationId xmlns:a16="http://schemas.microsoft.com/office/drawing/2014/main" id="{5A951BFE-C78F-B47D-DCFF-E19445C23C82}"/>
                </a:ext>
              </a:extLst>
            </p:cNvPr>
            <p:cNvPicPr>
              <a:picLocks noChangeAspect="1"/>
            </p:cNvPicPr>
            <p:nvPr/>
          </p:nvPicPr>
          <p:blipFill>
            <a:blip r:embed="rId4"/>
            <a:stretch>
              <a:fillRect/>
            </a:stretch>
          </p:blipFill>
          <p:spPr>
            <a:xfrm>
              <a:off x="2319688" y="2254576"/>
              <a:ext cx="2164080" cy="2952128"/>
            </a:xfrm>
            <a:prstGeom prst="rect">
              <a:avLst/>
            </a:prstGeom>
          </p:spPr>
        </p:pic>
        <p:sp>
          <p:nvSpPr>
            <p:cNvPr id="9" name="Rectangle 8">
              <a:extLst>
                <a:ext uri="{FF2B5EF4-FFF2-40B4-BE49-F238E27FC236}">
                  <a16:creationId xmlns:a16="http://schemas.microsoft.com/office/drawing/2014/main" id="{DC706C97-473E-356D-DD44-F5A4D5AD6C03}"/>
                </a:ext>
              </a:extLst>
            </p:cNvPr>
            <p:cNvSpPr/>
            <p:nvPr/>
          </p:nvSpPr>
          <p:spPr>
            <a:xfrm>
              <a:off x="2349043" y="2954888"/>
              <a:ext cx="2098626" cy="1491603"/>
            </a:xfrm>
            <a:prstGeom prst="rect">
              <a:avLst/>
            </a:prstGeom>
            <a:noFill/>
            <a:ln w="15875" cap="flat" cmpd="sng" algn="ctr">
              <a:noFill/>
              <a:prstDash val="solid"/>
            </a:ln>
            <a:effectLst/>
          </p:spPr>
          <p:txBody>
            <a:bodyPr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Student Achievement</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300" kern="0">
                <a:solidFill>
                  <a:prstClr val="white"/>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i="1" kern="0">
                  <a:solidFill>
                    <a:prstClr val="white"/>
                  </a:solidFill>
                  <a:latin typeface="Open Sans" panose="020B0606030504020204" pitchFamily="34" charset="0"/>
                  <a:ea typeface="Open Sans" panose="020B0606030504020204" pitchFamily="34" charset="0"/>
                  <a:cs typeface="Open Sans" panose="020B0606030504020204" pitchFamily="34" charset="0"/>
                </a:rPr>
                <a:t>STAAR – 4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1"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CCM</a:t>
              </a:r>
              <a:r>
                <a:rPr lang="en-US" sz="1200" i="1" kern="0">
                  <a:solidFill>
                    <a:prstClr val="white"/>
                  </a:solidFill>
                  <a:latin typeface="Open Sans" panose="020B0606030504020204" pitchFamily="34" charset="0"/>
                  <a:ea typeface="Open Sans" panose="020B0606030504020204" pitchFamily="34" charset="0"/>
                  <a:cs typeface="Open Sans" panose="020B0606030504020204" pitchFamily="34" charset="0"/>
                </a:rPr>
                <a:t>R – 4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1"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Grad. Rate – 20%</a:t>
              </a:r>
              <a:endParaRPr kumimoji="0" lang="en-US" sz="1400" i="1"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 name="Rectangle 9">
              <a:extLst>
                <a:ext uri="{FF2B5EF4-FFF2-40B4-BE49-F238E27FC236}">
                  <a16:creationId xmlns:a16="http://schemas.microsoft.com/office/drawing/2014/main" id="{11091D59-C543-E2B8-AD59-F24B309F4A8D}"/>
                </a:ext>
              </a:extLst>
            </p:cNvPr>
            <p:cNvSpPr/>
            <p:nvPr/>
          </p:nvSpPr>
          <p:spPr>
            <a:xfrm>
              <a:off x="2324378" y="1435362"/>
              <a:ext cx="4605090" cy="691840"/>
            </a:xfrm>
            <a:prstGeom prst="rect">
              <a:avLst/>
            </a:prstGeom>
            <a:solidFill>
              <a:srgbClr val="012169"/>
            </a:solidFill>
            <a:ln w="15875" cap="flat" cmpd="sng" algn="ctr">
              <a:solidFill>
                <a:srgbClr val="1CADE4">
                  <a:shade val="50000"/>
                </a:srgbClr>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Better of Achievement or Progress: 70%</a:t>
              </a:r>
            </a:p>
          </p:txBody>
        </p:sp>
        <p:sp>
          <p:nvSpPr>
            <p:cNvPr id="11" name="Rectangle 10">
              <a:extLst>
                <a:ext uri="{FF2B5EF4-FFF2-40B4-BE49-F238E27FC236}">
                  <a16:creationId xmlns:a16="http://schemas.microsoft.com/office/drawing/2014/main" id="{4E761838-7C46-FCD3-7195-002828C08E67}"/>
                </a:ext>
              </a:extLst>
            </p:cNvPr>
            <p:cNvSpPr/>
            <p:nvPr/>
          </p:nvSpPr>
          <p:spPr>
            <a:xfrm>
              <a:off x="7217821" y="1435364"/>
              <a:ext cx="2322945" cy="691840"/>
            </a:xfrm>
            <a:prstGeom prst="rect">
              <a:avLst/>
            </a:prstGeom>
            <a:solidFill>
              <a:srgbClr val="B72418"/>
            </a:solidFill>
            <a:ln w="15875" cap="flat" cmpd="sng" algn="ctr">
              <a:solidFill>
                <a:srgbClr val="1CADE4">
                  <a:shade val="50000"/>
                </a:srgbClr>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30% </a:t>
              </a:r>
            </a:p>
          </p:txBody>
        </p:sp>
        <p:sp>
          <p:nvSpPr>
            <p:cNvPr id="12" name="TextBox 8">
              <a:extLst>
                <a:ext uri="{FF2B5EF4-FFF2-40B4-BE49-F238E27FC236}">
                  <a16:creationId xmlns:a16="http://schemas.microsoft.com/office/drawing/2014/main" id="{4635D7F3-2082-765B-E5FC-437C680F78E5}"/>
                </a:ext>
              </a:extLst>
            </p:cNvPr>
            <p:cNvSpPr txBox="1"/>
            <p:nvPr/>
          </p:nvSpPr>
          <p:spPr>
            <a:xfrm>
              <a:off x="2579378" y="5229836"/>
              <a:ext cx="6541819" cy="547815"/>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1600" b="1">
                  <a:solidFill>
                    <a:srgbClr val="4472C4"/>
                  </a:solidFill>
                  <a:latin typeface="Calibri"/>
                  <a:ea typeface="Open Sans"/>
                  <a:cs typeface="Open Sans"/>
                </a:rPr>
                <a:t>K-12/High </a:t>
              </a:r>
              <a:r>
                <a:rPr kumimoji="0" lang="en-US" sz="1600" b="1" i="0" u="none" strike="noStrike" kern="1200" cap="none" spc="0" normalizeH="0" baseline="0" noProof="0">
                  <a:ln>
                    <a:noFill/>
                  </a:ln>
                  <a:solidFill>
                    <a:srgbClr val="4472C4"/>
                  </a:solidFill>
                  <a:effectLst/>
                  <a:uLnTx/>
                  <a:uFillTx/>
                  <a:latin typeface="Calibri"/>
                  <a:ea typeface="Open Sans"/>
                  <a:cs typeface="Open Sans"/>
                </a:rPr>
                <a:t>School System</a:t>
              </a:r>
              <a:r>
                <a:rPr lang="en-US" sz="1600" b="1">
                  <a:solidFill>
                    <a:srgbClr val="4472C4"/>
                  </a:solidFill>
                  <a:latin typeface="Calibri"/>
                  <a:ea typeface="Open Sans"/>
                  <a:cs typeface="Open Sans"/>
                </a:rPr>
                <a:t> </a:t>
              </a:r>
              <a:endParaRPr kumimoji="0" lang="en-US" sz="1600" b="1" i="0" u="none" strike="noStrike" kern="1200" cap="none" spc="0" normalizeH="0" baseline="0" noProof="0">
                <a:ln>
                  <a:noFill/>
                </a:ln>
                <a:solidFill>
                  <a:srgbClr val="4472C4"/>
                </a:solidFill>
                <a:effectLst/>
                <a:uLnTx/>
                <a:uFillTx/>
                <a:latin typeface="Calibri"/>
                <a:ea typeface="Open Sans" panose="020B0606030504020204" pitchFamily="34" charset="0"/>
                <a:cs typeface="Open Sans" panose="020B0606030504020204" pitchFamily="34" charset="0"/>
              </a:endParaRPr>
            </a:p>
          </p:txBody>
        </p:sp>
        <p:pic>
          <p:nvPicPr>
            <p:cNvPr id="13" name="Picture 12" descr="Icon&#10;&#10;Description automatically generated">
              <a:extLst>
                <a:ext uri="{FF2B5EF4-FFF2-40B4-BE49-F238E27FC236}">
                  <a16:creationId xmlns:a16="http://schemas.microsoft.com/office/drawing/2014/main" id="{32B7222C-550C-C6EC-D606-DD2C951D5107}"/>
                </a:ext>
              </a:extLst>
            </p:cNvPr>
            <p:cNvPicPr>
              <a:picLocks noChangeAspect="1"/>
            </p:cNvPicPr>
            <p:nvPr/>
          </p:nvPicPr>
          <p:blipFill>
            <a:blip r:embed="rId5"/>
            <a:stretch>
              <a:fillRect/>
            </a:stretch>
          </p:blipFill>
          <p:spPr>
            <a:xfrm>
              <a:off x="2349043" y="2354945"/>
              <a:ext cx="435153" cy="698099"/>
            </a:xfrm>
            <a:prstGeom prst="rect">
              <a:avLst/>
            </a:prstGeom>
          </p:spPr>
        </p:pic>
        <p:pic>
          <p:nvPicPr>
            <p:cNvPr id="14" name="Picture 13">
              <a:extLst>
                <a:ext uri="{FF2B5EF4-FFF2-40B4-BE49-F238E27FC236}">
                  <a16:creationId xmlns:a16="http://schemas.microsoft.com/office/drawing/2014/main" id="{63D451E5-8220-1C18-D18A-F79EA23A5946}"/>
                </a:ext>
              </a:extLst>
            </p:cNvPr>
            <p:cNvPicPr>
              <a:picLocks noChangeAspect="1"/>
            </p:cNvPicPr>
            <p:nvPr/>
          </p:nvPicPr>
          <p:blipFill>
            <a:blip r:embed="rId6"/>
            <a:stretch>
              <a:fillRect/>
            </a:stretch>
          </p:blipFill>
          <p:spPr>
            <a:xfrm>
              <a:off x="4925196" y="2463474"/>
              <a:ext cx="455725" cy="481044"/>
            </a:xfrm>
            <a:prstGeom prst="rect">
              <a:avLst/>
            </a:prstGeom>
          </p:spPr>
        </p:pic>
        <p:pic>
          <p:nvPicPr>
            <p:cNvPr id="15" name="Picture 14">
              <a:extLst>
                <a:ext uri="{FF2B5EF4-FFF2-40B4-BE49-F238E27FC236}">
                  <a16:creationId xmlns:a16="http://schemas.microsoft.com/office/drawing/2014/main" id="{2A394373-C35F-B3F2-5819-E2859F373CE0}"/>
                </a:ext>
              </a:extLst>
            </p:cNvPr>
            <p:cNvPicPr>
              <a:picLocks noChangeAspect="1"/>
            </p:cNvPicPr>
            <p:nvPr/>
          </p:nvPicPr>
          <p:blipFill>
            <a:blip r:embed="rId7"/>
            <a:stretch>
              <a:fillRect/>
            </a:stretch>
          </p:blipFill>
          <p:spPr>
            <a:xfrm>
              <a:off x="7277892" y="2494244"/>
              <a:ext cx="666013" cy="670190"/>
            </a:xfrm>
            <a:prstGeom prst="rect">
              <a:avLst/>
            </a:prstGeom>
          </p:spPr>
        </p:pic>
        <p:sp>
          <p:nvSpPr>
            <p:cNvPr id="16" name="Rectangle 15">
              <a:extLst>
                <a:ext uri="{FF2B5EF4-FFF2-40B4-BE49-F238E27FC236}">
                  <a16:creationId xmlns:a16="http://schemas.microsoft.com/office/drawing/2014/main" id="{975773DE-9FC2-5C73-6DBD-0722B7B9D51A}"/>
                </a:ext>
              </a:extLst>
            </p:cNvPr>
            <p:cNvSpPr/>
            <p:nvPr/>
          </p:nvSpPr>
          <p:spPr>
            <a:xfrm>
              <a:off x="4800974" y="3164432"/>
              <a:ext cx="2098626" cy="1406374"/>
            </a:xfrm>
            <a:prstGeom prst="rect">
              <a:avLst/>
            </a:prstGeom>
            <a:noFill/>
            <a:ln w="15875" cap="flat" cmpd="sng" algn="ctr">
              <a:noFill/>
              <a:prstDash val="solid"/>
            </a:ln>
            <a:effectLst/>
          </p:spPr>
          <p:txBody>
            <a:bodyPr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School</a:t>
              </a:r>
              <a:br>
                <a:rPr kumimoji="0" lang="en-US" sz="1600" b="1"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600" b="1"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Progress</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300" b="1" kern="0">
                <a:solidFill>
                  <a:prstClr val="white"/>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1"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Academic Growth</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i="1" kern="0">
                  <a:solidFill>
                    <a:prstClr val="white"/>
                  </a:solidFill>
                  <a:latin typeface="Open Sans" panose="020B0606030504020204" pitchFamily="34" charset="0"/>
                  <a:ea typeface="Open Sans" panose="020B0606030504020204" pitchFamily="34" charset="0"/>
                  <a:cs typeface="Open Sans" panose="020B0606030504020204" pitchFamily="34" charset="0"/>
                </a:rPr>
                <a:t>o</a:t>
              </a:r>
              <a:r>
                <a:rPr kumimoji="0" lang="en-US" sz="1200" i="1"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r</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i="1" kern="0">
                  <a:solidFill>
                    <a:prstClr val="white"/>
                  </a:solidFill>
                  <a:latin typeface="Open Sans" panose="020B0606030504020204" pitchFamily="34" charset="0"/>
                  <a:ea typeface="Open Sans" panose="020B0606030504020204" pitchFamily="34" charset="0"/>
                  <a:cs typeface="Open Sans" panose="020B0606030504020204" pitchFamily="34" charset="0"/>
                </a:rPr>
                <a:t>Relative Performance</a:t>
              </a:r>
              <a:endParaRPr kumimoji="0" lang="en-US" sz="1200" i="1"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 name="Rectangle 16">
              <a:extLst>
                <a:ext uri="{FF2B5EF4-FFF2-40B4-BE49-F238E27FC236}">
                  <a16:creationId xmlns:a16="http://schemas.microsoft.com/office/drawing/2014/main" id="{1B2E9731-3819-D872-6B04-026C19D8C420}"/>
                </a:ext>
              </a:extLst>
            </p:cNvPr>
            <p:cNvSpPr/>
            <p:nvPr/>
          </p:nvSpPr>
          <p:spPr>
            <a:xfrm>
              <a:off x="7216806" y="3337555"/>
              <a:ext cx="2407918" cy="1388412"/>
            </a:xfrm>
            <a:prstGeom prst="rect">
              <a:avLst/>
            </a:prstGeom>
            <a:noFill/>
            <a:ln w="15875" cap="flat" cmpd="sng" algn="ctr">
              <a:noFill/>
              <a:prstDash val="solid"/>
            </a:ln>
            <a:effectLst/>
          </p:spPr>
          <p:txBody>
            <a:bodyPr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Closing</a:t>
              </a:r>
              <a:br>
                <a:rPr kumimoji="0" lang="en-US" sz="1600" b="1"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1600" b="1"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the Gap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i="1" kern="0">
                  <a:solidFill>
                    <a:prstClr val="white"/>
                  </a:solidFill>
                  <a:latin typeface="Open Sans" panose="020B0606030504020204" pitchFamily="34" charset="0"/>
                  <a:ea typeface="Open Sans" panose="020B0606030504020204" pitchFamily="34" charset="0"/>
                  <a:cs typeface="Open Sans" panose="020B0606030504020204" pitchFamily="34" charset="0"/>
                </a:rPr>
                <a:t>Academic Achievement - 5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1"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CCMR – 30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1"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Grad. Rate – 10%</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i="1" kern="0">
                  <a:solidFill>
                    <a:prstClr val="white"/>
                  </a:solidFill>
                  <a:latin typeface="Open Sans" panose="020B0606030504020204" pitchFamily="34" charset="0"/>
                  <a:ea typeface="Open Sans" panose="020B0606030504020204" pitchFamily="34" charset="0"/>
                  <a:cs typeface="Open Sans" panose="020B0606030504020204" pitchFamily="34" charset="0"/>
                </a:rPr>
                <a:t>EL Performance – 10%</a:t>
              </a:r>
              <a:endParaRPr kumimoji="0" lang="en-US" sz="1200" i="1"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i="1"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Tree>
    <p:extLst>
      <p:ext uri="{BB962C8B-B14F-4D97-AF65-F5344CB8AC3E}">
        <p14:creationId xmlns:p14="http://schemas.microsoft.com/office/powerpoint/2010/main" val="3496780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4B1989-BB2F-9EBC-F22D-A54D94E0D7A2}"/>
              </a:ext>
            </a:extLst>
          </p:cNvPr>
          <p:cNvSpPr>
            <a:spLocks noGrp="1"/>
          </p:cNvSpPr>
          <p:nvPr>
            <p:ph type="title"/>
          </p:nvPr>
        </p:nvSpPr>
        <p:spPr/>
        <p:txBody>
          <a:bodyPr/>
          <a:lstStyle/>
          <a:p>
            <a:r>
              <a:rPr lang="en-US"/>
              <a:t>Impacts of new methodology for District Ratings</a:t>
            </a:r>
          </a:p>
        </p:txBody>
      </p:sp>
      <p:sp>
        <p:nvSpPr>
          <p:cNvPr id="4" name="TextBox 1">
            <a:extLst>
              <a:ext uri="{FF2B5EF4-FFF2-40B4-BE49-F238E27FC236}">
                <a16:creationId xmlns:a16="http://schemas.microsoft.com/office/drawing/2014/main" id="{34028033-A41C-C362-505D-0CCFDE53566F}"/>
              </a:ext>
            </a:extLst>
          </p:cNvPr>
          <p:cNvSpPr txBox="1">
            <a:spLocks noGrp="1"/>
          </p:cNvSpPr>
          <p:nvPr>
            <p:ph idx="1"/>
          </p:nvPr>
        </p:nvSpPr>
        <p:spPr>
          <a:xfrm>
            <a:off x="294104" y="1142613"/>
            <a:ext cx="11544581" cy="4746941"/>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1200"/>
              </a:spcAft>
              <a:buClr>
                <a:srgbClr val="DA3E26"/>
              </a:buClr>
            </a:pPr>
            <a:r>
              <a:rPr lang="en-US" sz="2400" b="1" dirty="0">
                <a:solidFill>
                  <a:schemeClr val="accent1"/>
                </a:solidFill>
                <a:latin typeface="Calibri"/>
                <a:ea typeface="Open Sans"/>
                <a:cs typeface="Open Sans"/>
              </a:rPr>
              <a:t>Increases alignment of district outcomes with campus outcomes:</a:t>
            </a:r>
            <a:r>
              <a:rPr lang="en-US" sz="2400" dirty="0">
                <a:solidFill>
                  <a:schemeClr val="accent1"/>
                </a:solidFill>
                <a:latin typeface="Calibri"/>
                <a:ea typeface="Open Sans"/>
                <a:cs typeface="Open Sans"/>
              </a:rPr>
              <a:t> In 2019, 30% of district ratings were not aligned with their campuses’ ratings​.​</a:t>
            </a:r>
          </a:p>
          <a:p>
            <a:pPr>
              <a:spcAft>
                <a:spcPts val="1200"/>
              </a:spcAft>
              <a:buClr>
                <a:srgbClr val="DA3E26"/>
              </a:buClr>
            </a:pPr>
            <a:endParaRPr lang="en-US" sz="2400" dirty="0">
              <a:solidFill>
                <a:schemeClr val="accent1"/>
              </a:solidFill>
              <a:latin typeface="Calibri"/>
              <a:ea typeface="Open Sans" panose="020B0606030504020204" pitchFamily="34" charset="0"/>
              <a:cs typeface="Open Sans" panose="020B0606030504020204" pitchFamily="34" charset="0"/>
            </a:endParaRPr>
          </a:p>
          <a:p>
            <a:pPr>
              <a:spcAft>
                <a:spcPts val="1200"/>
              </a:spcAft>
              <a:buClr>
                <a:srgbClr val="DA3E26"/>
              </a:buClr>
            </a:pPr>
            <a:endParaRPr lang="en-US" sz="2400" dirty="0">
              <a:solidFill>
                <a:schemeClr val="accent1"/>
              </a:solidFill>
              <a:latin typeface="Calibri"/>
              <a:ea typeface="Open Sans" panose="020B0606030504020204" pitchFamily="34" charset="0"/>
              <a:cs typeface="Open Sans" panose="020B0606030504020204" pitchFamily="34" charset="0"/>
            </a:endParaRPr>
          </a:p>
          <a:p>
            <a:pPr marL="228600" lvl="1" indent="0">
              <a:spcBef>
                <a:spcPts val="600"/>
              </a:spcBef>
              <a:buClr>
                <a:srgbClr val="DA3E26"/>
              </a:buClr>
              <a:buNone/>
            </a:pPr>
            <a:endParaRPr lang="en-US" sz="2400" dirty="0">
              <a:solidFill>
                <a:schemeClr val="accent1"/>
              </a:solidFill>
              <a:latin typeface="Calibri"/>
              <a:ea typeface="Open Sans" panose="020B0606030504020204" pitchFamily="34" charset="0"/>
              <a:cs typeface="Open Sans" panose="020B0606030504020204" pitchFamily="34" charset="0"/>
            </a:endParaRPr>
          </a:p>
          <a:p>
            <a:pPr marL="228600" lvl="1" indent="0">
              <a:spcBef>
                <a:spcPts val="600"/>
              </a:spcBef>
              <a:buClr>
                <a:srgbClr val="DA3E26"/>
              </a:buClr>
              <a:buNone/>
            </a:pPr>
            <a:endParaRPr lang="en-US" sz="2400" b="1" dirty="0">
              <a:solidFill>
                <a:schemeClr val="accent1"/>
              </a:solidFill>
              <a:latin typeface="Calibri"/>
              <a:ea typeface="Open Sans" panose="020B0606030504020204" pitchFamily="34" charset="0"/>
              <a:cs typeface="Open Sans" panose="020B0606030504020204" pitchFamily="34" charset="0"/>
            </a:endParaRPr>
          </a:p>
          <a:p>
            <a:pPr>
              <a:spcBef>
                <a:spcPts val="600"/>
              </a:spcBef>
              <a:buClr>
                <a:srgbClr val="DA3E26"/>
              </a:buClr>
            </a:pPr>
            <a:r>
              <a:rPr lang="en-US" sz="2400" b="1" dirty="0">
                <a:solidFill>
                  <a:schemeClr val="accent1"/>
                </a:solidFill>
                <a:latin typeface="Calibri"/>
                <a:ea typeface="Open Sans"/>
                <a:cs typeface="Open Sans"/>
              </a:rPr>
              <a:t>Decreases disproportionate emphasis on high school performance: </a:t>
            </a:r>
            <a:r>
              <a:rPr lang="en-US" sz="2400" dirty="0">
                <a:solidFill>
                  <a:schemeClr val="accent1"/>
                </a:solidFill>
                <a:latin typeface="Calibri"/>
                <a:ea typeface="Open Sans"/>
                <a:cs typeface="Open Sans"/>
              </a:rPr>
              <a:t>​ Specifically, high school CCMR and graduation rates were 60% of Domain 1: Student Achievement scores and an additional 40% of Domain 3: Closing the Gaps scores, making them a significant factor in district ratings that was not reflective of all students within a district. ​</a:t>
            </a:r>
          </a:p>
          <a:p>
            <a:pPr lvl="1">
              <a:spcBef>
                <a:spcPts val="600"/>
              </a:spcBef>
              <a:buClr>
                <a:srgbClr val="DA3E26"/>
              </a:buClr>
            </a:pPr>
            <a:endParaRPr lang="en-US" sz="2200" dirty="0">
              <a:latin typeface="Open Sans" panose="020B0606030504020204" pitchFamily="34" charset="0"/>
              <a:ea typeface="Open Sans" panose="020B0606030504020204" pitchFamily="34" charset="0"/>
              <a:cs typeface="Open Sans" panose="020B0606030504020204" pitchFamily="34" charset="0"/>
            </a:endParaRPr>
          </a:p>
        </p:txBody>
      </p:sp>
      <p:pic>
        <p:nvPicPr>
          <p:cNvPr id="1026" name="Picture 2">
            <a:extLst>
              <a:ext uri="{FF2B5EF4-FFF2-40B4-BE49-F238E27FC236}">
                <a16:creationId xmlns:a16="http://schemas.microsoft.com/office/drawing/2014/main" id="{D9A9F55B-5281-6070-6A5B-A13DCAFBA23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44339" y="2022740"/>
            <a:ext cx="3490415" cy="1848791"/>
          </a:xfrm>
          <a:prstGeom prst="rect">
            <a:avLst/>
          </a:prstGeom>
          <a:noFill/>
          <a:extLst>
            <a:ext uri="{909E8E84-426E-40DD-AFC4-6F175D3DCCD1}">
              <a14:hiddenFill xmlns:a14="http://schemas.microsoft.com/office/drawing/2010/main">
                <a:solidFill>
                  <a:srgbClr val="FFFFFF"/>
                </a:solidFill>
              </a14:hiddenFill>
            </a:ext>
          </a:extLst>
        </p:spPr>
      </p:pic>
      <p:sp>
        <p:nvSpPr>
          <p:cNvPr id="3" name="Speech Bubble: Rectangle 2">
            <a:extLst>
              <a:ext uri="{FF2B5EF4-FFF2-40B4-BE49-F238E27FC236}">
                <a16:creationId xmlns:a16="http://schemas.microsoft.com/office/drawing/2014/main" id="{006FEAF8-4E77-64E3-671A-3F60AD73C4C2}"/>
              </a:ext>
            </a:extLst>
          </p:cNvPr>
          <p:cNvSpPr/>
          <p:nvPr/>
        </p:nvSpPr>
        <p:spPr>
          <a:xfrm>
            <a:off x="2061039" y="2500409"/>
            <a:ext cx="3052920" cy="1214239"/>
          </a:xfrm>
          <a:prstGeom prst="wedgeRectCallout">
            <a:avLst>
              <a:gd name="adj1" fmla="val 56342"/>
              <a:gd name="adj2" fmla="val -42748"/>
            </a:avLst>
          </a:prstGeom>
          <a:solidFill>
            <a:srgbClr val="0D6CB9"/>
          </a:solidFill>
          <a:ln>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t>A district could be A-Rated even when no campus was A-Rated, because of the higher outcomes of one High School.</a:t>
            </a:r>
          </a:p>
        </p:txBody>
      </p:sp>
    </p:spTree>
    <p:extLst>
      <p:ext uri="{BB962C8B-B14F-4D97-AF65-F5344CB8AC3E}">
        <p14:creationId xmlns:p14="http://schemas.microsoft.com/office/powerpoint/2010/main" val="30228644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CE3F372-A6A6-8D43-F8E6-BFE5CAC6EE0D}"/>
              </a:ext>
            </a:extLst>
          </p:cNvPr>
          <p:cNvSpPr>
            <a:spLocks noGrp="1"/>
          </p:cNvSpPr>
          <p:nvPr>
            <p:ph type="ctrTitle"/>
          </p:nvPr>
        </p:nvSpPr>
        <p:spPr/>
        <p:txBody>
          <a:bodyPr/>
          <a:lstStyle/>
          <a:p>
            <a:r>
              <a:rPr lang="en-US">
                <a:highlight>
                  <a:srgbClr val="FFFF00"/>
                </a:highlight>
              </a:rPr>
              <a:t>[Template] </a:t>
            </a:r>
            <a:r>
              <a:rPr lang="en-US"/>
              <a:t>Objectives and Instructions</a:t>
            </a:r>
          </a:p>
        </p:txBody>
      </p:sp>
      <p:sp>
        <p:nvSpPr>
          <p:cNvPr id="4" name="TextBox 3">
            <a:extLst>
              <a:ext uri="{FF2B5EF4-FFF2-40B4-BE49-F238E27FC236}">
                <a16:creationId xmlns:a16="http://schemas.microsoft.com/office/drawing/2014/main" id="{C1A00173-746E-E74D-DC09-144CA7BD8361}"/>
              </a:ext>
            </a:extLst>
          </p:cNvPr>
          <p:cNvSpPr txBox="1"/>
          <p:nvPr/>
        </p:nvSpPr>
        <p:spPr>
          <a:xfrm>
            <a:off x="2812150" y="932722"/>
            <a:ext cx="4586177" cy="5693866"/>
          </a:xfrm>
          <a:prstGeom prst="rect">
            <a:avLst/>
          </a:prstGeom>
          <a:noFill/>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
                <a:srgbClr val="F16038"/>
              </a:buClr>
              <a:buSzTx/>
              <a:buFont typeface="Wingdings" pitchFamily="2" charset="2"/>
              <a:buChar char="§"/>
              <a:tabLst/>
              <a:defRPr/>
            </a:pPr>
            <a:r>
              <a:rPr kumimoji="0" lang="en-US" sz="2400" b="1" i="0" u="none" strike="noStrike" kern="1200" cap="none" spc="0" normalizeH="0" baseline="0" noProof="0" dirty="0">
                <a:ln>
                  <a:noFill/>
                </a:ln>
                <a:solidFill>
                  <a:srgbClr val="0D6CB9"/>
                </a:solidFill>
                <a:effectLst/>
                <a:uLnTx/>
                <a:uFillTx/>
                <a:latin typeface="Calibri" panose="020F0502020204030204"/>
                <a:ea typeface="+mn-ea"/>
                <a:cs typeface="+mn-cs"/>
              </a:rPr>
              <a:t>Objective</a:t>
            </a:r>
          </a:p>
          <a:p>
            <a:pPr marL="742950" lvl="1" indent="-285750">
              <a:buClr>
                <a:srgbClr val="F16038"/>
              </a:buClr>
              <a:buFont typeface="Wingdings" pitchFamily="2" charset="2"/>
              <a:buChar char="§"/>
              <a:defRPr/>
            </a:pPr>
            <a:r>
              <a:rPr kumimoji="0" lang="en-US" sz="2000" b="0" i="0" u="none" strike="noStrike" kern="1200" cap="none" spc="0" normalizeH="0" baseline="0" noProof="0" dirty="0">
                <a:ln>
                  <a:noFill/>
                </a:ln>
                <a:solidFill>
                  <a:srgbClr val="0D6CB9"/>
                </a:solidFill>
                <a:effectLst/>
                <a:uLnTx/>
                <a:uFillTx/>
                <a:latin typeface="Calibri" panose="020F0502020204030204"/>
                <a:ea typeface="+mn-ea"/>
                <a:cs typeface="+mn-cs"/>
              </a:rPr>
              <a:t>Provide an optional editable PowerPoint presentation template for district leaders to customize to use to communicate to School Board members and other stakeholders about this year’s ratings and the refresh of the </a:t>
            </a:r>
            <a:r>
              <a:rPr kumimoji="0" lang="en-US" sz="2000" b="0" i="1" u="none" strike="noStrike" kern="1200" cap="none" spc="0" normalizeH="0" baseline="0" noProof="0" dirty="0">
                <a:ln>
                  <a:noFill/>
                </a:ln>
                <a:solidFill>
                  <a:srgbClr val="0D6CB9"/>
                </a:solidFill>
                <a:effectLst/>
                <a:uLnTx/>
                <a:uFillTx/>
                <a:latin typeface="Calibri" panose="020F0502020204030204"/>
                <a:ea typeface="+mn-ea"/>
                <a:cs typeface="+mn-cs"/>
              </a:rPr>
              <a:t>A–F</a:t>
            </a:r>
            <a:r>
              <a:rPr kumimoji="0" lang="en-US" sz="2000" b="0" i="0" u="none" strike="noStrike" kern="1200" cap="none" spc="0" normalizeH="0" baseline="0" noProof="0" dirty="0">
                <a:ln>
                  <a:noFill/>
                </a:ln>
                <a:solidFill>
                  <a:srgbClr val="0D6CB9"/>
                </a:solidFill>
                <a:effectLst/>
                <a:uLnTx/>
                <a:uFillTx/>
                <a:latin typeface="Calibri" panose="020F0502020204030204"/>
                <a:ea typeface="+mn-ea"/>
                <a:cs typeface="+mn-cs"/>
              </a:rPr>
              <a:t> accountability system once 2023 ratings are available on</a:t>
            </a:r>
            <a:r>
              <a:rPr lang="en-US" sz="2000" dirty="0">
                <a:solidFill>
                  <a:srgbClr val="0D6CB9"/>
                </a:solidFill>
                <a:latin typeface="Calibri" panose="020F0502020204030204"/>
              </a:rPr>
              <a:t> Nov. 14.</a:t>
            </a:r>
            <a:endParaRPr kumimoji="0" lang="en-US" sz="2000" b="0" i="0" u="none" strike="noStrike" kern="1200" cap="none" spc="0" normalizeH="0" baseline="0" noProof="0" dirty="0">
              <a:ln>
                <a:noFill/>
              </a:ln>
              <a:solidFill>
                <a:srgbClr val="0D6CB9"/>
              </a:solidFill>
              <a:effectLst/>
              <a:uLnTx/>
              <a:uFillTx/>
              <a:latin typeface="Calibri" panose="020F0502020204030204"/>
              <a:ea typeface="+mn-ea"/>
              <a:cs typeface="+mn-cs"/>
            </a:endParaRPr>
          </a:p>
          <a:p>
            <a:pPr marL="457200" marR="0" lvl="1" indent="0" algn="l" defTabSz="914400" rtl="0" eaLnBrk="1" fontAlgn="auto" latinLnBrk="0" hangingPunct="1">
              <a:lnSpc>
                <a:spcPct val="100000"/>
              </a:lnSpc>
              <a:spcBef>
                <a:spcPts val="0"/>
              </a:spcBef>
              <a:spcAft>
                <a:spcPts val="0"/>
              </a:spcAft>
              <a:buClr>
                <a:srgbClr val="F16038"/>
              </a:buClr>
              <a:buSzTx/>
              <a:buFontTx/>
              <a:buNone/>
              <a:tabLst/>
              <a:defRPr/>
            </a:pPr>
            <a:endParaRPr kumimoji="0" lang="en-US" sz="2000" b="0" i="0" u="none" strike="noStrike" kern="1200" cap="none" spc="0" normalizeH="0" baseline="0" noProof="0">
              <a:ln>
                <a:noFill/>
              </a:ln>
              <a:solidFill>
                <a:srgbClr val="0D6CB9"/>
              </a:solidFill>
              <a:effectLst/>
              <a:uLnTx/>
              <a:uFillTx/>
              <a:latin typeface="Calibri" panose="020F0502020204030204"/>
              <a:ea typeface="+mn-ea"/>
              <a:cs typeface="+mn-cs"/>
            </a:endParaRPr>
          </a:p>
          <a:p>
            <a:pPr marL="742950" marR="0" lvl="1" indent="-285750" algn="l" defTabSz="914400" rtl="0" eaLnBrk="1" fontAlgn="auto" latinLnBrk="0" hangingPunct="1">
              <a:lnSpc>
                <a:spcPct val="100000"/>
              </a:lnSpc>
              <a:spcBef>
                <a:spcPts val="0"/>
              </a:spcBef>
              <a:spcAft>
                <a:spcPts val="0"/>
              </a:spcAft>
              <a:buClr>
                <a:srgbClr val="F16038"/>
              </a:buClr>
              <a:buSzTx/>
              <a:buFont typeface="Wingdings" pitchFamily="2" charset="2"/>
              <a:buChar char="§"/>
              <a:tabLst/>
              <a:defRPr/>
            </a:pPr>
            <a:r>
              <a:rPr kumimoji="0" lang="en-US" sz="2000" b="0" i="0" u="none" strike="noStrike" kern="1200" cap="none" spc="0" normalizeH="0" baseline="0" noProof="0" dirty="0">
                <a:ln>
                  <a:noFill/>
                </a:ln>
                <a:solidFill>
                  <a:srgbClr val="0D6CB9"/>
                </a:solidFill>
                <a:effectLst/>
                <a:uLnTx/>
                <a:uFillTx/>
                <a:latin typeface="Calibri" panose="020F0502020204030204"/>
                <a:ea typeface="+mn-ea"/>
                <a:cs typeface="+mn-cs"/>
              </a:rPr>
              <a:t>Many districts have already been communicating about the </a:t>
            </a:r>
            <a:r>
              <a:rPr kumimoji="0" lang="en-US" sz="2000" b="0" i="1" u="none" strike="noStrike" kern="1200" cap="none" spc="0" normalizeH="0" baseline="0" noProof="0" dirty="0">
                <a:ln>
                  <a:noFill/>
                </a:ln>
                <a:solidFill>
                  <a:srgbClr val="0D6CB9"/>
                </a:solidFill>
                <a:effectLst/>
                <a:uLnTx/>
                <a:uFillTx/>
                <a:latin typeface="Calibri" panose="020F0502020204030204"/>
                <a:ea typeface="+mn-ea"/>
                <a:cs typeface="+mn-cs"/>
              </a:rPr>
              <a:t>A–F </a:t>
            </a:r>
            <a:r>
              <a:rPr kumimoji="0" lang="en-US" sz="2000" b="0" i="0" u="none" strike="noStrike" kern="1200" cap="none" spc="0" normalizeH="0" baseline="0" noProof="0" dirty="0">
                <a:ln>
                  <a:noFill/>
                </a:ln>
                <a:solidFill>
                  <a:srgbClr val="0D6CB9"/>
                </a:solidFill>
                <a:effectLst/>
                <a:uLnTx/>
                <a:uFillTx/>
                <a:latin typeface="Calibri" panose="020F0502020204030204"/>
                <a:ea typeface="+mn-ea"/>
                <a:cs typeface="+mn-cs"/>
              </a:rPr>
              <a:t>refresh. This resource is intended to supplement existing conversations and resources and can be tailored based on district need.</a:t>
            </a:r>
            <a:endParaRPr lang="en-US" sz="2000" b="0" i="0" u="none" strike="noStrike" kern="1200" cap="none" spc="0" normalizeH="0" baseline="0" noProof="0" dirty="0">
              <a:ln>
                <a:noFill/>
              </a:ln>
              <a:solidFill>
                <a:srgbClr val="0D6CB9"/>
              </a:solidFill>
              <a:effectLst/>
              <a:uLnTx/>
              <a:uFillTx/>
              <a:latin typeface="Calibri" panose="020F0502020204030204"/>
              <a:cs typeface="Calibri"/>
            </a:endParaRPr>
          </a:p>
        </p:txBody>
      </p:sp>
      <p:sp>
        <p:nvSpPr>
          <p:cNvPr id="5" name="TextBox 4">
            <a:extLst>
              <a:ext uri="{FF2B5EF4-FFF2-40B4-BE49-F238E27FC236}">
                <a16:creationId xmlns:a16="http://schemas.microsoft.com/office/drawing/2014/main" id="{C0E20AB8-2AB7-6434-A76D-765E3C1F0259}"/>
              </a:ext>
            </a:extLst>
          </p:cNvPr>
          <p:cNvSpPr txBox="1"/>
          <p:nvPr/>
        </p:nvSpPr>
        <p:spPr>
          <a:xfrm>
            <a:off x="6830977" y="932722"/>
            <a:ext cx="5109123" cy="6309420"/>
          </a:xfrm>
          <a:prstGeom prst="rect">
            <a:avLst/>
          </a:prstGeom>
          <a:noFill/>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
                <a:srgbClr val="F16038"/>
              </a:buClr>
              <a:buSzTx/>
              <a:buFont typeface="Wingdings" pitchFamily="2" charset="2"/>
              <a:buChar char="§"/>
              <a:tabLst/>
              <a:defRPr/>
            </a:pPr>
            <a:r>
              <a:rPr kumimoji="0" lang="en-US" sz="2400" b="1" i="0" u="none" strike="noStrike" kern="1200" cap="none" spc="0" normalizeH="0" baseline="0" noProof="0">
                <a:ln>
                  <a:noFill/>
                </a:ln>
                <a:solidFill>
                  <a:srgbClr val="0D6CB9"/>
                </a:solidFill>
                <a:effectLst/>
                <a:uLnTx/>
                <a:uFillTx/>
                <a:latin typeface="Calibri" panose="020F0502020204030204"/>
                <a:ea typeface="+mn-ea"/>
                <a:cs typeface="+mn-cs"/>
              </a:rPr>
              <a:t>Instructions for Template Use</a:t>
            </a:r>
          </a:p>
          <a:p>
            <a:pPr marL="742950" marR="0" lvl="0" indent="-285750" algn="l" defTabSz="914400" rtl="0" eaLnBrk="1" fontAlgn="auto" latinLnBrk="0" hangingPunct="1">
              <a:lnSpc>
                <a:spcPct val="100000"/>
              </a:lnSpc>
              <a:spcBef>
                <a:spcPts val="0"/>
              </a:spcBef>
              <a:spcAft>
                <a:spcPts val="0"/>
              </a:spcAft>
              <a:buClr>
                <a:srgbClr val="F16038"/>
              </a:buClr>
              <a:buSzTx/>
              <a:buFont typeface="Wingdings" pitchFamily="2" charset="2"/>
              <a:buChar char="§"/>
              <a:tabLst/>
              <a:defRPr/>
            </a:pPr>
            <a:r>
              <a:rPr kumimoji="0" lang="en-US" sz="2000" b="0" i="0" u="none" strike="noStrike" kern="1200" cap="none" spc="0" normalizeH="0" baseline="0" noProof="0">
                <a:ln>
                  <a:noFill/>
                </a:ln>
                <a:solidFill>
                  <a:srgbClr val="0D6CB9"/>
                </a:solidFill>
                <a:effectLst/>
                <a:uLnTx/>
                <a:uFillTx/>
                <a:latin typeface="Calibri" panose="020F0502020204030204"/>
                <a:ea typeface="+mn-ea"/>
                <a:cs typeface="Calibri"/>
              </a:rPr>
              <a:t>Customize slides 16-17 with 2022 and final What If ratings for two campuses from your district</a:t>
            </a:r>
          </a:p>
          <a:p>
            <a:pPr marL="742950" marR="0" lvl="1" indent="-285750" algn="l" defTabSz="914400" rtl="0" eaLnBrk="1" fontAlgn="auto" latinLnBrk="0" hangingPunct="1">
              <a:lnSpc>
                <a:spcPct val="100000"/>
              </a:lnSpc>
              <a:spcBef>
                <a:spcPts val="0"/>
              </a:spcBef>
              <a:spcAft>
                <a:spcPts val="0"/>
              </a:spcAft>
              <a:buClr>
                <a:srgbClr val="F16038"/>
              </a:buClr>
              <a:buSzTx/>
              <a:buFont typeface="Wingdings" pitchFamily="2" charset="2"/>
              <a:buChar char="§"/>
              <a:tabLst/>
              <a:defRPr/>
            </a:pPr>
            <a:r>
              <a:rPr kumimoji="0" lang="en-US" sz="2000" b="0" i="0" u="none" strike="noStrike" kern="1200" cap="none" spc="0" normalizeH="0" baseline="0" noProof="0">
                <a:ln>
                  <a:noFill/>
                </a:ln>
                <a:solidFill>
                  <a:srgbClr val="0D6CB9"/>
                </a:solidFill>
                <a:effectLst/>
                <a:uLnTx/>
                <a:uFillTx/>
                <a:latin typeface="Calibri" panose="020F0502020204030204"/>
                <a:ea typeface="+mn-ea"/>
                <a:cs typeface="Calibri"/>
              </a:rPr>
              <a:t>Create copies of slide 16 or 17 to customize for additional campuses as needed</a:t>
            </a: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a:p>
            <a:pPr marL="742950" marR="0" lvl="1" indent="-285750" algn="l" defTabSz="914400" rtl="0" eaLnBrk="1" fontAlgn="auto" latinLnBrk="0" hangingPunct="1">
              <a:lnSpc>
                <a:spcPct val="100000"/>
              </a:lnSpc>
              <a:spcBef>
                <a:spcPts val="0"/>
              </a:spcBef>
              <a:spcAft>
                <a:spcPts val="0"/>
              </a:spcAft>
              <a:buClr>
                <a:srgbClr val="F16038"/>
              </a:buClr>
              <a:buSzTx/>
              <a:buFont typeface="Wingdings" pitchFamily="2" charset="2"/>
              <a:buChar char="§"/>
              <a:tabLst/>
              <a:defRPr/>
            </a:pPr>
            <a:r>
              <a:rPr kumimoji="0" lang="en-US" sz="2000" b="0" i="0" u="none" strike="noStrike" kern="1200" cap="none" spc="0" normalizeH="0" baseline="0" noProof="0">
                <a:ln>
                  <a:noFill/>
                </a:ln>
                <a:solidFill>
                  <a:srgbClr val="0D6CB9"/>
                </a:solidFill>
                <a:effectLst/>
                <a:uLnTx/>
                <a:uFillTx/>
                <a:latin typeface="Calibri" panose="020F0502020204030204"/>
                <a:ea typeface="+mn-ea"/>
                <a:cs typeface="Calibri"/>
              </a:rPr>
              <a:t>Customize slide 21 with 2022 and final What If ratings for your district</a:t>
            </a:r>
          </a:p>
          <a:p>
            <a:pPr marL="742950" marR="0" lvl="1" indent="-285750" algn="l" defTabSz="914400" rtl="0" eaLnBrk="1" fontAlgn="auto" latinLnBrk="0" hangingPunct="1">
              <a:lnSpc>
                <a:spcPct val="100000"/>
              </a:lnSpc>
              <a:spcBef>
                <a:spcPts val="0"/>
              </a:spcBef>
              <a:spcAft>
                <a:spcPts val="0"/>
              </a:spcAft>
              <a:buClr>
                <a:srgbClr val="F16038"/>
              </a:buClr>
              <a:buSzTx/>
              <a:buFont typeface="Wingdings" pitchFamily="2" charset="2"/>
              <a:buChar char="§"/>
              <a:tabLst/>
              <a:defRPr/>
            </a:pPr>
            <a:r>
              <a:rPr lang="en-US" sz="2000">
                <a:solidFill>
                  <a:srgbClr val="0D6CB9"/>
                </a:solidFill>
                <a:latin typeface="Calibri" panose="020F0502020204030204"/>
                <a:cs typeface="Calibri"/>
              </a:rPr>
              <a:t>Customize slides 23-25 with final What If ratings and 2023 ratings for your district and campuses. </a:t>
            </a:r>
          </a:p>
          <a:p>
            <a:pPr marL="742950" marR="0" lvl="1" indent="-285750" algn="l" defTabSz="914400" rtl="0" eaLnBrk="1" fontAlgn="auto" latinLnBrk="0" hangingPunct="1">
              <a:lnSpc>
                <a:spcPct val="100000"/>
              </a:lnSpc>
              <a:spcBef>
                <a:spcPts val="0"/>
              </a:spcBef>
              <a:spcAft>
                <a:spcPts val="0"/>
              </a:spcAft>
              <a:buClr>
                <a:srgbClr val="F16038"/>
              </a:buClr>
              <a:buSzTx/>
              <a:buFont typeface="Wingdings" pitchFamily="2" charset="2"/>
              <a:buChar char="§"/>
              <a:tabLst/>
              <a:defRPr/>
            </a:pPr>
            <a:r>
              <a:rPr lang="en-US" sz="2000">
                <a:solidFill>
                  <a:srgbClr val="0D6CB9"/>
                </a:solidFill>
                <a:latin typeface="Calibri" panose="020F0502020204030204"/>
                <a:cs typeface="Calibri"/>
              </a:rPr>
              <a:t>Create copies of slide 24 or 25 to customize for additional campuses as needed</a:t>
            </a: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a:p>
            <a:pPr marL="742950" lvl="1" indent="-285750">
              <a:buClr>
                <a:srgbClr val="F16038"/>
              </a:buClr>
              <a:buFont typeface="Wingdings" pitchFamily="2" charset="2"/>
              <a:buChar char="§"/>
              <a:defRPr/>
            </a:pPr>
            <a:r>
              <a:rPr kumimoji="0" lang="en-US" sz="2000" b="0" i="0" u="none" strike="noStrike" kern="1200" cap="none" spc="0" normalizeH="0" baseline="0" noProof="0">
                <a:ln>
                  <a:noFill/>
                </a:ln>
                <a:solidFill>
                  <a:srgbClr val="0D6CB9"/>
                </a:solidFill>
                <a:effectLst/>
                <a:uLnTx/>
                <a:uFillTx/>
                <a:latin typeface="Calibri" panose="020F0502020204030204"/>
                <a:ea typeface="+mn-ea"/>
                <a:cs typeface="Calibri"/>
              </a:rPr>
              <a:t>Slide</a:t>
            </a:r>
            <a:r>
              <a:rPr lang="en-US" sz="2000">
                <a:solidFill>
                  <a:srgbClr val="0D6CB9"/>
                </a:solidFill>
                <a:latin typeface="Calibri" panose="020F0502020204030204"/>
                <a:cs typeface="Calibri"/>
              </a:rPr>
              <a:t> 5</a:t>
            </a:r>
            <a:r>
              <a:rPr kumimoji="0" lang="en-US" sz="2000" b="0" i="0" u="none" strike="noStrike" kern="1200" cap="none" spc="0" normalizeH="0" baseline="0" noProof="0">
                <a:ln>
                  <a:noFill/>
                </a:ln>
                <a:solidFill>
                  <a:srgbClr val="0D6CB9"/>
                </a:solidFill>
                <a:effectLst/>
                <a:uLnTx/>
                <a:uFillTx/>
                <a:latin typeface="Calibri" panose="020F0502020204030204"/>
                <a:ea typeface="+mn-ea"/>
                <a:cs typeface="Calibri"/>
              </a:rPr>
              <a:t> mentions the additional deck to share to provide context on </a:t>
            </a:r>
            <a:r>
              <a:rPr kumimoji="0" lang="en-US" sz="2000" b="0" i="1" u="none" strike="noStrike" kern="1200" cap="none" spc="0" normalizeH="0" baseline="0" noProof="0">
                <a:ln>
                  <a:noFill/>
                </a:ln>
                <a:solidFill>
                  <a:srgbClr val="0D6CB9"/>
                </a:solidFill>
                <a:effectLst/>
                <a:uLnTx/>
                <a:uFillTx/>
                <a:latin typeface="Calibri" panose="020F0502020204030204"/>
                <a:ea typeface="+mn-ea"/>
                <a:cs typeface="Calibri"/>
              </a:rPr>
              <a:t>A–F</a:t>
            </a:r>
            <a:r>
              <a:rPr kumimoji="0" lang="en-US" sz="2000" b="0" i="0" u="none" strike="noStrike" kern="1200" cap="none" spc="0" normalizeH="0" baseline="0" noProof="0">
                <a:ln>
                  <a:noFill/>
                </a:ln>
                <a:solidFill>
                  <a:srgbClr val="0D6CB9"/>
                </a:solidFill>
                <a:effectLst/>
                <a:uLnTx/>
                <a:uFillTx/>
                <a:latin typeface="Calibri" panose="020F0502020204030204"/>
                <a:ea typeface="+mn-ea"/>
                <a:cs typeface="Calibri"/>
              </a:rPr>
              <a:t> purpose, design commitments, and</a:t>
            </a:r>
            <a:r>
              <a:rPr kumimoji="0" lang="en-US" sz="2000" b="0" i="1" u="none" strike="noStrike" kern="1200" cap="none" spc="0" normalizeH="0" baseline="0" noProof="0">
                <a:ln>
                  <a:noFill/>
                </a:ln>
                <a:solidFill>
                  <a:srgbClr val="0D6CB9"/>
                </a:solidFill>
                <a:effectLst/>
                <a:uLnTx/>
                <a:uFillTx/>
                <a:latin typeface="Calibri" panose="020F0502020204030204"/>
                <a:ea typeface="+mn-ea"/>
                <a:cs typeface="Calibri"/>
              </a:rPr>
              <a:t> A–F</a:t>
            </a:r>
            <a:r>
              <a:rPr kumimoji="0" lang="en-US" sz="2000" b="0" i="0" u="none" strike="noStrike" kern="1200" cap="none" spc="0" normalizeH="0" baseline="0" noProof="0">
                <a:ln>
                  <a:noFill/>
                </a:ln>
                <a:solidFill>
                  <a:srgbClr val="0D6CB9"/>
                </a:solidFill>
                <a:effectLst/>
                <a:uLnTx/>
                <a:uFillTx/>
                <a:latin typeface="Calibri" panose="020F0502020204030204"/>
                <a:ea typeface="+mn-ea"/>
                <a:cs typeface="Calibri"/>
              </a:rPr>
              <a:t> refresh changes</a:t>
            </a: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a:p>
            <a:pPr marL="742950" marR="0" lvl="1" indent="-285750" algn="l" defTabSz="914400" rtl="0" eaLnBrk="1" fontAlgn="auto" latinLnBrk="0" hangingPunct="1">
              <a:lnSpc>
                <a:spcPct val="100000"/>
              </a:lnSpc>
              <a:spcBef>
                <a:spcPts val="0"/>
              </a:spcBef>
              <a:spcAft>
                <a:spcPts val="0"/>
              </a:spcAft>
              <a:buClr>
                <a:srgbClr val="F16038"/>
              </a:buClr>
              <a:buSzTx/>
              <a:buFont typeface="Wingdings" pitchFamily="2" charset="2"/>
              <a:buChar char="§"/>
              <a:tabLst/>
              <a:defRPr/>
            </a:pPr>
            <a:endParaRPr kumimoji="0" lang="en-US" sz="2000" b="0" i="0" u="none" strike="noStrike" kern="1200" cap="none" spc="0" normalizeH="0" baseline="0" noProof="0">
              <a:ln>
                <a:noFill/>
              </a:ln>
              <a:solidFill>
                <a:srgbClr val="0D6CB9"/>
              </a:solidFill>
              <a:effectLst/>
              <a:uLnTx/>
              <a:uFillTx/>
              <a:latin typeface="Calibri" panose="020F0502020204030204"/>
              <a:ea typeface="+mn-ea"/>
              <a:cs typeface="Calibri"/>
            </a:endParaRPr>
          </a:p>
        </p:txBody>
      </p:sp>
    </p:spTree>
    <p:extLst>
      <p:ext uri="{BB962C8B-B14F-4D97-AF65-F5344CB8AC3E}">
        <p14:creationId xmlns:p14="http://schemas.microsoft.com/office/powerpoint/2010/main" val="36106946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325A9422-4AF2-6509-439E-B9984AAE940F}"/>
              </a:ext>
            </a:extLst>
          </p:cNvPr>
          <p:cNvGraphicFramePr>
            <a:graphicFrameLocks noChangeAspect="1"/>
          </p:cNvGraphicFramePr>
          <p:nvPr>
            <p:custDataLst>
              <p:tags r:id="rId1"/>
            </p:custDataLst>
            <p:extLst>
              <p:ext uri="{D42A27DB-BD31-4B8C-83A1-F6EECF244321}">
                <p14:modId xmlns:p14="http://schemas.microsoft.com/office/powerpoint/2010/main" val="2513089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95" imgH="394" progId="TCLayout.ActiveDocument.1">
                  <p:embed/>
                </p:oleObj>
              </mc:Choice>
              <mc:Fallback>
                <p:oleObj name="think-cell Slide" r:id="rId9" imgW="395" imgH="394" progId="TCLayout.ActiveDocument.1">
                  <p:embed/>
                  <p:pic>
                    <p:nvPicPr>
                      <p:cNvPr id="19" name="think-cell data - do not delete" hidden="1">
                        <a:extLst>
                          <a:ext uri="{FF2B5EF4-FFF2-40B4-BE49-F238E27FC236}">
                            <a16:creationId xmlns:a16="http://schemas.microsoft.com/office/drawing/2014/main" id="{325A9422-4AF2-6509-439E-B9984AAE940F}"/>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06490A8-2FAB-8E10-83A1-9BC5CF0A36C9}"/>
              </a:ext>
            </a:extLst>
          </p:cNvPr>
          <p:cNvSpPr>
            <a:spLocks noGrp="1"/>
          </p:cNvSpPr>
          <p:nvPr>
            <p:ph type="title"/>
          </p:nvPr>
        </p:nvSpPr>
        <p:spPr/>
        <p:txBody>
          <a:bodyPr vert="horz">
            <a:normAutofit fontScale="90000"/>
          </a:bodyPr>
          <a:lstStyle/>
          <a:p>
            <a:r>
              <a:rPr lang="en-US"/>
              <a:t>Example of disproportionate emphasis on HS performance</a:t>
            </a:r>
          </a:p>
        </p:txBody>
      </p:sp>
      <p:sp>
        <p:nvSpPr>
          <p:cNvPr id="10" name="TextBox 3">
            <a:extLst>
              <a:ext uri="{FF2B5EF4-FFF2-40B4-BE49-F238E27FC236}">
                <a16:creationId xmlns:a16="http://schemas.microsoft.com/office/drawing/2014/main" id="{5B6185C0-3E70-ADE0-92C1-76C2221CFA9A}"/>
              </a:ext>
            </a:extLst>
          </p:cNvPr>
          <p:cNvSpPr txBox="1"/>
          <p:nvPr/>
        </p:nvSpPr>
        <p:spPr>
          <a:xfrm>
            <a:off x="527049" y="1165820"/>
            <a:ext cx="11190289" cy="3416320"/>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r>
              <a:rPr lang="en-US" dirty="0">
                <a:solidFill>
                  <a:srgbClr val="0D6CB9"/>
                </a:solidFill>
              </a:rPr>
              <a:t>Under the previous methodology, </a:t>
            </a:r>
            <a:r>
              <a:rPr lang="en-US" b="1" i="1" dirty="0">
                <a:solidFill>
                  <a:srgbClr val="0D6CB9"/>
                </a:solidFill>
              </a:rPr>
              <a:t>high school performance was over-represented </a:t>
            </a:r>
            <a:r>
              <a:rPr lang="en-US" dirty="0">
                <a:solidFill>
                  <a:srgbClr val="0D6CB9"/>
                </a:solidFill>
              </a:rPr>
              <a:t>for both Domain 1: Student Achievement and Domain 3: Closing the Gaps. </a:t>
            </a:r>
          </a:p>
          <a:p>
            <a:endParaRPr lang="en-US" dirty="0">
              <a:solidFill>
                <a:srgbClr val="0D6CB9"/>
              </a:solidFill>
            </a:endParaRPr>
          </a:p>
          <a:p>
            <a:r>
              <a:rPr lang="en-US" dirty="0">
                <a:solidFill>
                  <a:srgbClr val="0D6CB9"/>
                </a:solidFill>
              </a:rPr>
              <a:t>The following illustrates over-representation in Domain 1 for an example high school with 36% of the total district enrollment. For this example, Armadillo HS had a “C” rating, Big Bend MS received a “B”, and all 3 elementary schools received an “A”.</a:t>
            </a:r>
            <a:endParaRPr lang="en-US" dirty="0">
              <a:solidFill>
                <a:srgbClr val="0D6CB9"/>
              </a:solidFill>
              <a:ea typeface="Calibri"/>
              <a:cs typeface="Calibri"/>
            </a:endParaRPr>
          </a:p>
          <a:p>
            <a:endParaRPr lang="en-US" dirty="0">
              <a:solidFill>
                <a:srgbClr val="0D6CB9"/>
              </a:solidFill>
            </a:endParaRPr>
          </a:p>
          <a:p>
            <a:r>
              <a:rPr lang="en-US" dirty="0">
                <a:solidFill>
                  <a:srgbClr val="0D6CB9"/>
                </a:solidFill>
              </a:rPr>
              <a:t>Under the old methodology, the district would receive a “C” rating because of the influence of low CCMR performance and graduation rates at Armadillo HS </a:t>
            </a:r>
            <a:r>
              <a:rPr lang="en-US" b="1" i="1" dirty="0">
                <a:solidFill>
                  <a:srgbClr val="0D6CB9"/>
                </a:solidFill>
              </a:rPr>
              <a:t>(which affects 60% of the Domain 1 score)</a:t>
            </a:r>
            <a:r>
              <a:rPr lang="en-US" dirty="0">
                <a:solidFill>
                  <a:srgbClr val="0D6CB9"/>
                </a:solidFill>
              </a:rPr>
              <a:t>. Under the new methodology, the district would receive a “B” rating because the weight is based on enrollment and Armadillo HS is only 36% of the student enrollment.</a:t>
            </a:r>
            <a:endParaRPr lang="en-US" dirty="0">
              <a:solidFill>
                <a:srgbClr val="0D6CB9"/>
              </a:solidFill>
              <a:ea typeface="Calibri"/>
              <a:cs typeface="Calibri"/>
            </a:endParaRPr>
          </a:p>
          <a:p>
            <a:endParaRPr lang="en-US" dirty="0">
              <a:solidFill>
                <a:srgbClr val="0D6CB9"/>
              </a:solidFill>
            </a:endParaRPr>
          </a:p>
        </p:txBody>
      </p:sp>
      <p:graphicFrame>
        <p:nvGraphicFramePr>
          <p:cNvPr id="302" name="Chart 301">
            <a:extLst>
              <a:ext uri="{FF2B5EF4-FFF2-40B4-BE49-F238E27FC236}">
                <a16:creationId xmlns:a16="http://schemas.microsoft.com/office/drawing/2014/main" id="{76C88421-B071-0011-82F1-BF1EFEF7040D}"/>
              </a:ext>
            </a:extLst>
          </p:cNvPr>
          <p:cNvGraphicFramePr/>
          <p:nvPr>
            <p:custDataLst>
              <p:tags r:id="rId2"/>
            </p:custDataLst>
            <p:extLst>
              <p:ext uri="{D42A27DB-BD31-4B8C-83A1-F6EECF244321}">
                <p14:modId xmlns:p14="http://schemas.microsoft.com/office/powerpoint/2010/main" val="3327053945"/>
              </p:ext>
            </p:extLst>
          </p:nvPr>
        </p:nvGraphicFramePr>
        <p:xfrm>
          <a:off x="2397125" y="4602163"/>
          <a:ext cx="9221788" cy="1765300"/>
        </p:xfrm>
        <a:graphic>
          <a:graphicData uri="http://schemas.openxmlformats.org/drawingml/2006/chart">
            <c:chart xmlns:c="http://schemas.openxmlformats.org/drawingml/2006/chart" xmlns:r="http://schemas.openxmlformats.org/officeDocument/2006/relationships" r:id="rId11"/>
          </a:graphicData>
        </a:graphic>
      </p:graphicFrame>
      <p:cxnSp>
        <p:nvCxnSpPr>
          <p:cNvPr id="16" name="Straight Connector 15">
            <a:extLst>
              <a:ext uri="{FF2B5EF4-FFF2-40B4-BE49-F238E27FC236}">
                <a16:creationId xmlns:a16="http://schemas.microsoft.com/office/drawing/2014/main" id="{D47B7B70-458F-AC48-6666-42987B0A107A}"/>
              </a:ext>
            </a:extLst>
          </p:cNvPr>
          <p:cNvCxnSpPr/>
          <p:nvPr>
            <p:custDataLst>
              <p:tags r:id="rId3"/>
            </p:custDataLst>
          </p:nvPr>
        </p:nvCxnSpPr>
        <p:spPr bwMode="auto">
          <a:xfrm flipV="1">
            <a:off x="11536363" y="6157913"/>
            <a:ext cx="0" cy="203200"/>
          </a:xfrm>
          <a:prstGeom prst="line">
            <a:avLst/>
          </a:prstGeom>
          <a:ln w="952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 name="Rectangle 3">
            <a:extLst>
              <a:ext uri="{FF2B5EF4-FFF2-40B4-BE49-F238E27FC236}">
                <a16:creationId xmlns:a16="http://schemas.microsoft.com/office/drawing/2014/main" id="{1399CF18-91B7-A1FF-87AD-1A4F333B2738}"/>
              </a:ext>
            </a:extLst>
          </p:cNvPr>
          <p:cNvSpPr/>
          <p:nvPr>
            <p:custDataLst>
              <p:tags r:id="rId4"/>
            </p:custDataLst>
          </p:nvPr>
        </p:nvSpPr>
        <p:spPr bwMode="auto">
          <a:xfrm>
            <a:off x="379413" y="4872038"/>
            <a:ext cx="1982788" cy="4254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fld id="{4B7CB866-7A6F-4BA4-91D5-236DA70AAFBE}" type="datetime'Old Me''th''odol''ogy &#10;''(We''ighte''d by ''Compone''nts'')'''">
              <a:rPr lang="en-US" altLang="en-US" sz="1400" smtClean="0">
                <a:solidFill>
                  <a:schemeClr val="tx1"/>
                </a:solidFill>
              </a:rPr>
              <a:pPr/>
              <a:t>Old Methodology 
(Weighted by Components)</a:t>
            </a:fld>
            <a:endParaRPr lang="en-US" sz="1400">
              <a:solidFill>
                <a:schemeClr val="tx1"/>
              </a:solidFill>
            </a:endParaRPr>
          </a:p>
        </p:txBody>
      </p:sp>
      <p:sp>
        <p:nvSpPr>
          <p:cNvPr id="5" name="Rectangle 4">
            <a:extLst>
              <a:ext uri="{FF2B5EF4-FFF2-40B4-BE49-F238E27FC236}">
                <a16:creationId xmlns:a16="http://schemas.microsoft.com/office/drawing/2014/main" id="{2D2AF873-4127-FA98-AE67-D22139E518CF}"/>
              </a:ext>
            </a:extLst>
          </p:cNvPr>
          <p:cNvSpPr/>
          <p:nvPr>
            <p:custDataLst>
              <p:tags r:id="rId5"/>
            </p:custDataLst>
          </p:nvPr>
        </p:nvSpPr>
        <p:spPr bwMode="auto">
          <a:xfrm>
            <a:off x="503238" y="5672138"/>
            <a:ext cx="1858963" cy="4254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fld id="{8DE83653-B3C2-4832-9549-78A8A20F9A99}" type="datetime'Ne''w Me''thodology'''' ''&#10;(''Weig''h''ted by E''nrollmen''t)'">
              <a:rPr lang="en-US" altLang="en-US" sz="1400" smtClean="0">
                <a:solidFill>
                  <a:schemeClr val="tx1"/>
                </a:solidFill>
              </a:rPr>
              <a:pPr/>
              <a:t>New Methodology 
(Weighted by Enrollment)</a:t>
            </a:fld>
            <a:endParaRPr lang="en-US" sz="1400">
              <a:solidFill>
                <a:schemeClr val="tx1"/>
              </a:solidFill>
            </a:endParaRPr>
          </a:p>
        </p:txBody>
      </p:sp>
      <p:sp>
        <p:nvSpPr>
          <p:cNvPr id="11" name="Rectangle 10">
            <a:extLst>
              <a:ext uri="{FF2B5EF4-FFF2-40B4-BE49-F238E27FC236}">
                <a16:creationId xmlns:a16="http://schemas.microsoft.com/office/drawing/2014/main" id="{229ADE3F-9842-8F24-CAEF-51A01C487860}"/>
              </a:ext>
            </a:extLst>
          </p:cNvPr>
          <p:cNvSpPr/>
          <p:nvPr>
            <p:custDataLst>
              <p:tags r:id="rId6"/>
            </p:custDataLst>
          </p:nvPr>
        </p:nvSpPr>
        <p:spPr bwMode="auto">
          <a:xfrm>
            <a:off x="11364913" y="6411913"/>
            <a:ext cx="3429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170CB7F6-8CE1-44BA-A1AF-59DCB1C9DB8A}" type="datetime'''''1''''''0''''''''''''''''0''''''''''%'''''''''''">
              <a:rPr lang="en-US" altLang="en-US" sz="1200" smtClean="0">
                <a:solidFill>
                  <a:schemeClr val="tx1"/>
                </a:solidFill>
                <a:effectLst/>
              </a:rPr>
              <a:pPr algn="ctr">
                <a:spcBef>
                  <a:spcPct val="0"/>
                </a:spcBef>
                <a:spcAft>
                  <a:spcPct val="0"/>
                </a:spcAft>
              </a:pPr>
              <a:t>100%</a:t>
            </a:fld>
            <a:endParaRPr lang="en-US" sz="1200" dirty="0">
              <a:solidFill>
                <a:schemeClr val="tx1"/>
              </a:solidFill>
            </a:endParaRPr>
          </a:p>
        </p:txBody>
      </p:sp>
      <p:sp>
        <p:nvSpPr>
          <p:cNvPr id="253" name="Rectangle 252">
            <a:extLst>
              <a:ext uri="{FF2B5EF4-FFF2-40B4-BE49-F238E27FC236}">
                <a16:creationId xmlns:a16="http://schemas.microsoft.com/office/drawing/2014/main" id="{B1A37BC6-AC11-64A0-C7A6-972F6377B3C8}"/>
              </a:ext>
            </a:extLst>
          </p:cNvPr>
          <p:cNvSpPr/>
          <p:nvPr>
            <p:custDataLst>
              <p:tags r:id="rId7"/>
            </p:custDataLst>
          </p:nvPr>
        </p:nvSpPr>
        <p:spPr bwMode="auto">
          <a:xfrm>
            <a:off x="6270625" y="4324350"/>
            <a:ext cx="147320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b"/>
          <a:lstStyle/>
          <a:p>
            <a:pPr algn="ctr">
              <a:spcBef>
                <a:spcPct val="0"/>
              </a:spcBef>
              <a:spcAft>
                <a:spcPct val="0"/>
              </a:spcAft>
            </a:pPr>
            <a:r>
              <a:rPr lang="en-US" altLang="en-US" sz="1400" dirty="0">
                <a:solidFill>
                  <a:schemeClr val="tx1"/>
                </a:solidFill>
                <a:effectLst/>
              </a:rPr>
              <a:t>Domain 1 Weighting</a:t>
            </a:r>
            <a:endParaRPr lang="en-US" sz="1400" dirty="0">
              <a:solidFill>
                <a:schemeClr val="tx1"/>
              </a:solidFill>
            </a:endParaRPr>
          </a:p>
        </p:txBody>
      </p:sp>
    </p:spTree>
    <p:extLst>
      <p:ext uri="{BB962C8B-B14F-4D97-AF65-F5344CB8AC3E}">
        <p14:creationId xmlns:p14="http://schemas.microsoft.com/office/powerpoint/2010/main" val="213689294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03A14E-0327-76B4-4D43-018EAFE80796}"/>
              </a:ext>
            </a:extLst>
          </p:cNvPr>
          <p:cNvSpPr>
            <a:spLocks noGrp="1"/>
          </p:cNvSpPr>
          <p:nvPr>
            <p:ph type="title"/>
          </p:nvPr>
        </p:nvSpPr>
        <p:spPr/>
        <p:txBody>
          <a:bodyPr>
            <a:noAutofit/>
          </a:bodyPr>
          <a:lstStyle/>
          <a:p>
            <a:r>
              <a:rPr lang="en-US" sz="2800">
                <a:solidFill>
                  <a:schemeClr val="tx1"/>
                </a:solidFill>
                <a:highlight>
                  <a:srgbClr val="FFFF00"/>
                </a:highlight>
              </a:rPr>
              <a:t>[Customize] </a:t>
            </a:r>
            <a:r>
              <a:rPr lang="en-US" sz="2800"/>
              <a:t>“What If” ratings for </a:t>
            </a:r>
            <a:r>
              <a:rPr lang="en-US" sz="2800">
                <a:solidFill>
                  <a:schemeClr val="tx1"/>
                </a:solidFill>
                <a:highlight>
                  <a:srgbClr val="FFFF00"/>
                </a:highlight>
              </a:rPr>
              <a:t>[district name]</a:t>
            </a:r>
          </a:p>
        </p:txBody>
      </p:sp>
      <p:sp>
        <p:nvSpPr>
          <p:cNvPr id="7" name="TextBox 6">
            <a:extLst>
              <a:ext uri="{FF2B5EF4-FFF2-40B4-BE49-F238E27FC236}">
                <a16:creationId xmlns:a16="http://schemas.microsoft.com/office/drawing/2014/main" id="{115C1C90-5CBF-8738-8513-3D3A751ACB04}"/>
              </a:ext>
            </a:extLst>
          </p:cNvPr>
          <p:cNvSpPr txBox="1"/>
          <p:nvPr/>
        </p:nvSpPr>
        <p:spPr>
          <a:xfrm>
            <a:off x="0" y="6630734"/>
            <a:ext cx="8640457"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Calibri" panose="020F0502020204030204"/>
                <a:ea typeface="+mn-ea"/>
                <a:cs typeface="+mn-cs"/>
              </a:rPr>
              <a:t>*This doesn’t apply to dropout recovery schools or if Domain 1 is the one area with a score of 70+. </a:t>
            </a:r>
          </a:p>
        </p:txBody>
      </p:sp>
      <p:graphicFrame>
        <p:nvGraphicFramePr>
          <p:cNvPr id="5" name="Table 5">
            <a:extLst>
              <a:ext uri="{FF2B5EF4-FFF2-40B4-BE49-F238E27FC236}">
                <a16:creationId xmlns:a16="http://schemas.microsoft.com/office/drawing/2014/main" id="{8681981F-A295-DF67-8F0C-E31D4BB0F1E6}"/>
              </a:ext>
            </a:extLst>
          </p:cNvPr>
          <p:cNvGraphicFramePr>
            <a:graphicFrameLocks/>
          </p:cNvGraphicFramePr>
          <p:nvPr>
            <p:extLst>
              <p:ext uri="{D42A27DB-BD31-4B8C-83A1-F6EECF244321}">
                <p14:modId xmlns:p14="http://schemas.microsoft.com/office/powerpoint/2010/main" val="2322388504"/>
              </p:ext>
            </p:extLst>
          </p:nvPr>
        </p:nvGraphicFramePr>
        <p:xfrm>
          <a:off x="407219" y="1793380"/>
          <a:ext cx="11377561" cy="4557725"/>
        </p:xfrm>
        <a:graphic>
          <a:graphicData uri="http://schemas.openxmlformats.org/drawingml/2006/table">
            <a:tbl>
              <a:tblPr firstRow="1" bandRow="1"/>
              <a:tblGrid>
                <a:gridCol w="2291755">
                  <a:extLst>
                    <a:ext uri="{9D8B030D-6E8A-4147-A177-3AD203B41FA5}">
                      <a16:colId xmlns:a16="http://schemas.microsoft.com/office/drawing/2014/main" val="2460035832"/>
                    </a:ext>
                  </a:extLst>
                </a:gridCol>
                <a:gridCol w="1235998">
                  <a:extLst>
                    <a:ext uri="{9D8B030D-6E8A-4147-A177-3AD203B41FA5}">
                      <a16:colId xmlns:a16="http://schemas.microsoft.com/office/drawing/2014/main" val="270008210"/>
                    </a:ext>
                  </a:extLst>
                </a:gridCol>
                <a:gridCol w="1425538">
                  <a:extLst>
                    <a:ext uri="{9D8B030D-6E8A-4147-A177-3AD203B41FA5}">
                      <a16:colId xmlns:a16="http://schemas.microsoft.com/office/drawing/2014/main" val="3965508422"/>
                    </a:ext>
                  </a:extLst>
                </a:gridCol>
                <a:gridCol w="6424270">
                  <a:extLst>
                    <a:ext uri="{9D8B030D-6E8A-4147-A177-3AD203B41FA5}">
                      <a16:colId xmlns:a16="http://schemas.microsoft.com/office/drawing/2014/main" val="2432764043"/>
                    </a:ext>
                  </a:extLst>
                </a:gridCol>
              </a:tblGrid>
              <a:tr h="567239">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r>
                        <a:rPr lang="en-US" sz="1600"/>
                        <a:t>Domain Roll-up from Campuses*</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D6CB9"/>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r>
                        <a:rPr lang="en-US" sz="1600"/>
                        <a:t>2022 Score</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D6CB9"/>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r>
                        <a:rPr lang="en-US" sz="1600"/>
                        <a:t>What If Score</a:t>
                      </a:r>
                    </a:p>
                    <a:p>
                      <a:r>
                        <a:rPr lang="en-US" sz="1000" b="0" i="0"/>
                        <a:t>(2022 data &amp; 2023 methodology)</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D6CB9"/>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r>
                        <a:rPr lang="en-US" sz="1600"/>
                        <a:t>Changes to methodology</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D6CB9"/>
                    </a:solidFill>
                  </a:tcPr>
                </a:tc>
                <a:extLst>
                  <a:ext uri="{0D108BD9-81ED-4DB2-BD59-A6C34878D82A}">
                    <a16:rowId xmlns:a16="http://schemas.microsoft.com/office/drawing/2014/main" val="2937890691"/>
                  </a:ext>
                </a:extLst>
              </a:tr>
              <a:tr h="77553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400" i="0"/>
                        <a:t>Domain 1 Student Achievement</a:t>
                      </a: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D6CB9">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400" i="0">
                          <a:highlight>
                            <a:srgbClr val="FFFF00"/>
                          </a:highlight>
                        </a:rPr>
                        <a:t>[enter]</a:t>
                      </a: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D6CB9">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i="0">
                          <a:highlight>
                            <a:srgbClr val="FFFF00"/>
                          </a:highlight>
                        </a:rPr>
                        <a:t>[enter]</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D6CB9">
                        <a:tint val="40000"/>
                      </a:srgbClr>
                    </a:solidFill>
                  </a:tcPr>
                </a:tc>
                <a:tc>
                  <a:txBody>
                    <a:bodyPr/>
                    <a:lstStyle/>
                    <a:p>
                      <a:r>
                        <a:rPr lang="en-US" sz="1200"/>
                        <a:t>No change for elementary and middle schools.</a:t>
                      </a:r>
                    </a:p>
                    <a:p>
                      <a:r>
                        <a:rPr lang="en-US" sz="1200"/>
                        <a:t>High schools and K-12s have increased standards for college, career, and military readiness and graduation rates. </a:t>
                      </a:r>
                      <a:endParaRPr lang="en-US" sz="1200" kern="1200">
                        <a:solidFill>
                          <a:schemeClr val="dk1"/>
                        </a:solidFill>
                        <a:latin typeface="+mn-lt"/>
                        <a:ea typeface="+mn-ea"/>
                        <a:cs typeface="+mn-cs"/>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D6CB9">
                        <a:tint val="40000"/>
                      </a:srgbClr>
                    </a:solidFill>
                  </a:tcPr>
                </a:tc>
                <a:extLst>
                  <a:ext uri="{0D108BD9-81ED-4DB2-BD59-A6C34878D82A}">
                    <a16:rowId xmlns:a16="http://schemas.microsoft.com/office/drawing/2014/main" val="3304232842"/>
                  </a:ext>
                </a:extLst>
              </a:tr>
              <a:tr h="39988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400" i="0"/>
                        <a:t>Domain 2 Student Progress</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D6CB9">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400" i="0">
                          <a:highlight>
                            <a:srgbClr val="FFFF00"/>
                          </a:highlight>
                        </a:rPr>
                        <a:t>[enter]</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D6CB9">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i="0">
                          <a:highlight>
                            <a:srgbClr val="FFFF00"/>
                          </a:highlight>
                        </a:rPr>
                        <a:t>[enter]</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D6CB9">
                        <a:tint val="20000"/>
                      </a:srgbClr>
                    </a:solidFill>
                  </a:tcPr>
                </a:tc>
                <a:tc>
                  <a:txBody>
                    <a:bodyPr/>
                    <a:lstStyle/>
                    <a:p>
                      <a:r>
                        <a:rPr lang="en-US" sz="1200"/>
                        <a:t>No change in methodology.  Continues to be best of Domain 2a and 2b.</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D6CB9">
                        <a:tint val="20000"/>
                      </a:srgbClr>
                    </a:solidFill>
                  </a:tcPr>
                </a:tc>
                <a:extLst>
                  <a:ext uri="{0D108BD9-81ED-4DB2-BD59-A6C34878D82A}">
                    <a16:rowId xmlns:a16="http://schemas.microsoft.com/office/drawing/2014/main" val="4063796448"/>
                  </a:ext>
                </a:extLst>
              </a:tr>
              <a:tr h="49682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18745" indent="3175"/>
                      <a:r>
                        <a:rPr lang="en-US" sz="1400" i="0"/>
                        <a:t>Domain 2a Academic Growth</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D6CB9">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400" i="0">
                          <a:highlight>
                            <a:srgbClr val="FFFF00"/>
                          </a:highlight>
                        </a:rPr>
                        <a:t>[enter]</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D6CB9">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i="0">
                          <a:highlight>
                            <a:srgbClr val="FFFF00"/>
                          </a:highlight>
                        </a:rPr>
                        <a:t>[enter]</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D6CB9">
                        <a:tint val="40000"/>
                      </a:srgbClr>
                    </a:solidFill>
                  </a:tcPr>
                </a:tc>
                <a:tc>
                  <a:txBody>
                    <a:bodyPr/>
                    <a:lstStyle/>
                    <a:p>
                      <a:r>
                        <a:rPr lang="en-US" sz="1200" i="0"/>
                        <a:t>Updates methodology to capture growth for more students and includes learning acceleration.</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D6CB9">
                        <a:tint val="40000"/>
                      </a:srgbClr>
                    </a:solidFill>
                  </a:tcPr>
                </a:tc>
                <a:extLst>
                  <a:ext uri="{0D108BD9-81ED-4DB2-BD59-A6C34878D82A}">
                    <a16:rowId xmlns:a16="http://schemas.microsoft.com/office/drawing/2014/main" val="1273416240"/>
                  </a:ext>
                </a:extLst>
              </a:tr>
              <a:tr h="459193">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18745" indent="3175" algn="l" defTabSz="914400" rtl="0" eaLnBrk="1" latinLnBrk="0" hangingPunct="1"/>
                      <a:r>
                        <a:rPr lang="en-US" sz="1400" i="0" kern="1200">
                          <a:solidFill>
                            <a:schemeClr val="dk1"/>
                          </a:solidFill>
                          <a:latin typeface="+mn-lt"/>
                          <a:ea typeface="+mn-ea"/>
                          <a:cs typeface="+mn-cs"/>
                        </a:rPr>
                        <a:t>Domain 2b Relative Performance</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D6CB9">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400" i="0">
                          <a:highlight>
                            <a:srgbClr val="FFFF00"/>
                          </a:highlight>
                        </a:rPr>
                        <a:t>[enter]</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D6CB9">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i="0">
                          <a:highlight>
                            <a:srgbClr val="FFFF00"/>
                          </a:highlight>
                        </a:rPr>
                        <a:t>[enter]</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D6CB9">
                        <a:tint val="20000"/>
                      </a:srgbClr>
                    </a:solidFill>
                  </a:tcPr>
                </a:tc>
                <a:tc>
                  <a:txBody>
                    <a:bodyPr/>
                    <a:lstStyle/>
                    <a:p>
                      <a:r>
                        <a:rPr lang="en-US" sz="1200" i="0"/>
                        <a:t>No change for elementary and middle schools.</a:t>
                      </a:r>
                    </a:p>
                    <a:p>
                      <a:r>
                        <a:rPr lang="en-US" sz="1200" i="0"/>
                        <a:t>High school recalculated given recent improvements in college, career, and military readiness.  </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D6CB9">
                        <a:tint val="20000"/>
                      </a:srgbClr>
                    </a:solidFill>
                  </a:tcPr>
                </a:tc>
                <a:extLst>
                  <a:ext uri="{0D108BD9-81ED-4DB2-BD59-A6C34878D82A}">
                    <a16:rowId xmlns:a16="http://schemas.microsoft.com/office/drawing/2014/main" val="2572518059"/>
                  </a:ext>
                </a:extLst>
              </a:tr>
              <a:tr h="459193">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400" i="0"/>
                        <a:t>Best of Domain 1 and Domain 2</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D6CB9">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400" i="0">
                          <a:highlight>
                            <a:srgbClr val="FFFF00"/>
                          </a:highlight>
                        </a:rPr>
                        <a:t>[enter]</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D6CB9">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i="0">
                          <a:highlight>
                            <a:srgbClr val="FFFF00"/>
                          </a:highlight>
                        </a:rPr>
                        <a:t>[enter]</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D6CB9">
                        <a:tint val="40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i="0"/>
                        <a:t>No change in methodology.  70% of overall rating continues to be the best of Domain 1 and 2.</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D6CB9">
                        <a:tint val="40000"/>
                      </a:srgbClr>
                    </a:solidFill>
                  </a:tcPr>
                </a:tc>
                <a:extLst>
                  <a:ext uri="{0D108BD9-81ED-4DB2-BD59-A6C34878D82A}">
                    <a16:rowId xmlns:a16="http://schemas.microsoft.com/office/drawing/2014/main" val="2029422566"/>
                  </a:ext>
                </a:extLst>
              </a:tr>
              <a:tr h="56723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400" i="0"/>
                        <a:t>Domain 3 Closing the Gaps</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D6CB9">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400" i="0">
                          <a:highlight>
                            <a:srgbClr val="FFFF00"/>
                          </a:highlight>
                        </a:rPr>
                        <a:t>[enter]</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D6CB9">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i="0">
                          <a:highlight>
                            <a:srgbClr val="FFFF00"/>
                          </a:highlight>
                        </a:rPr>
                        <a:t>[enter]</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D6CB9">
                        <a:tint val="20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Includes more students with a minimum size of 10. Moves from a yes/no to a 0-4 methodology to improve differentiation. Tabulations now focus on just the student groups most in need.  Aligned with updated long-term targets.  </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D6CB9">
                        <a:tint val="20000"/>
                      </a:srgbClr>
                    </a:solidFill>
                  </a:tcPr>
                </a:tc>
                <a:extLst>
                  <a:ext uri="{0D108BD9-81ED-4DB2-BD59-A6C34878D82A}">
                    <a16:rowId xmlns:a16="http://schemas.microsoft.com/office/drawing/2014/main" val="319962496"/>
                  </a:ext>
                </a:extLst>
              </a:tr>
              <a:tr h="54765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400" i="0"/>
                        <a:t>Overall</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D6CB9">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400" i="0">
                          <a:highlight>
                            <a:srgbClr val="FFFF00"/>
                          </a:highlight>
                        </a:rPr>
                        <a:t>[enter]</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D6CB9">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i="0">
                          <a:highlight>
                            <a:srgbClr val="FFFF00"/>
                          </a:highlight>
                        </a:rPr>
                        <a:t>[enter]</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D6CB9">
                        <a:tint val="40000"/>
                      </a:srgbClr>
                    </a:solidFill>
                  </a:tcPr>
                </a:tc>
                <a:tc>
                  <a:txBody>
                    <a:bodyPr/>
                    <a:lstStyle/>
                    <a:p>
                      <a:r>
                        <a:rPr lang="en-US" sz="1200"/>
                        <a:t>If a school has &lt;70 in 3 out of the 4 areas (Domain 1, Doman 2a, Domain 2b, Domain 3), the highest overall they can receive is a 69.*</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D6CB9">
                        <a:tint val="40000"/>
                      </a:srgbClr>
                    </a:solidFill>
                  </a:tcPr>
                </a:tc>
                <a:extLst>
                  <a:ext uri="{0D108BD9-81ED-4DB2-BD59-A6C34878D82A}">
                    <a16:rowId xmlns:a16="http://schemas.microsoft.com/office/drawing/2014/main" val="2804664255"/>
                  </a:ext>
                </a:extLst>
              </a:tr>
            </a:tbl>
          </a:graphicData>
        </a:graphic>
      </p:graphicFrame>
      <p:sp>
        <p:nvSpPr>
          <p:cNvPr id="8" name="Rectangle 7">
            <a:extLst>
              <a:ext uri="{FF2B5EF4-FFF2-40B4-BE49-F238E27FC236}">
                <a16:creationId xmlns:a16="http://schemas.microsoft.com/office/drawing/2014/main" id="{D76CE283-3F43-5B86-6971-A4C6F1483973}"/>
              </a:ext>
            </a:extLst>
          </p:cNvPr>
          <p:cNvSpPr/>
          <p:nvPr/>
        </p:nvSpPr>
        <p:spPr>
          <a:xfrm>
            <a:off x="384332" y="1073924"/>
            <a:ext cx="7871792" cy="579642"/>
          </a:xfrm>
          <a:prstGeom prst="rect">
            <a:avLst/>
          </a:prstGeom>
          <a:noFill/>
          <a:ln>
            <a:noFill/>
          </a:ln>
        </p:spPr>
        <p:style>
          <a:lnRef idx="0">
            <a:scrgbClr r="0" g="0" b="0"/>
          </a:lnRef>
          <a:fillRef idx="0">
            <a:scrgbClr r="0" g="0" b="0"/>
          </a:fillRef>
          <a:effectRef idx="0">
            <a:scrgbClr r="0" g="0" b="0"/>
          </a:effectRef>
          <a:fontRef idx="minor">
            <a:schemeClr val="dk1"/>
          </a:fontRef>
        </p:style>
        <p:txBody>
          <a:bodyPr rtlCol="0" anchor="ctr"/>
          <a:lstStyle/>
          <a:p>
            <a:r>
              <a:rPr lang="en-US" sz="1400"/>
              <a:t>* District ratings are now calculated using a weighted average of campus ratings, as opposed to calculating the district as a single K-12 campus.  This increases alignment of district ratings with campus ratings.</a:t>
            </a:r>
          </a:p>
        </p:txBody>
      </p:sp>
    </p:spTree>
    <p:extLst>
      <p:ext uri="{BB962C8B-B14F-4D97-AF65-F5344CB8AC3E}">
        <p14:creationId xmlns:p14="http://schemas.microsoft.com/office/powerpoint/2010/main" val="7891815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03A14E-0327-76B4-4D43-018EAFE80796}"/>
              </a:ext>
            </a:extLst>
          </p:cNvPr>
          <p:cNvSpPr>
            <a:spLocks noGrp="1"/>
          </p:cNvSpPr>
          <p:nvPr>
            <p:ph type="title"/>
          </p:nvPr>
        </p:nvSpPr>
        <p:spPr/>
        <p:txBody>
          <a:bodyPr>
            <a:noAutofit/>
          </a:bodyPr>
          <a:lstStyle/>
          <a:p>
            <a:r>
              <a:rPr lang="en-US" sz="2800"/>
              <a:t>“What If” ratings viewed statewide for context</a:t>
            </a:r>
          </a:p>
        </p:txBody>
      </p:sp>
      <p:sp>
        <p:nvSpPr>
          <p:cNvPr id="4" name="Content Placeholder 3">
            <a:extLst>
              <a:ext uri="{FF2B5EF4-FFF2-40B4-BE49-F238E27FC236}">
                <a16:creationId xmlns:a16="http://schemas.microsoft.com/office/drawing/2014/main" id="{A6A4BA1F-9B5D-31C3-658C-C99E2CC564D2}"/>
              </a:ext>
            </a:extLst>
          </p:cNvPr>
          <p:cNvSpPr>
            <a:spLocks noGrp="1"/>
          </p:cNvSpPr>
          <p:nvPr>
            <p:ph idx="1"/>
          </p:nvPr>
        </p:nvSpPr>
        <p:spPr>
          <a:xfrm>
            <a:off x="6322704" y="1813014"/>
            <a:ext cx="5631691" cy="4357991"/>
          </a:xfrm>
          <a:ln w="19050">
            <a:solidFill>
              <a:schemeClr val="accent2"/>
            </a:solidFill>
          </a:ln>
        </p:spPr>
        <p:txBody>
          <a:bodyPr lIns="91440" tIns="45720" rIns="91440" bIns="45720" anchor="t"/>
          <a:lstStyle/>
          <a:p>
            <a:pPr marL="0" indent="0">
              <a:buNone/>
            </a:pPr>
            <a:r>
              <a:rPr lang="en-US" dirty="0"/>
              <a:t>Across the state, when viewing  “What If” ratings:</a:t>
            </a:r>
            <a:endParaRPr lang="en-US" dirty="0">
              <a:cs typeface="Calibri" panose="020F0502020204030204"/>
            </a:endParaRPr>
          </a:p>
          <a:p>
            <a:pPr marL="0" indent="0">
              <a:buNone/>
            </a:pPr>
            <a:endParaRPr lang="en-US" sz="1200"/>
          </a:p>
          <a:p>
            <a:pPr lvl="1"/>
            <a:r>
              <a:rPr lang="en-US" dirty="0"/>
              <a:t>Applying the</a:t>
            </a:r>
            <a:r>
              <a:rPr lang="en-US" i="1" dirty="0"/>
              <a:t> A-F</a:t>
            </a:r>
            <a:r>
              <a:rPr lang="en-US" dirty="0"/>
              <a:t> Refresh methodology to 2021-22 performance causes some campus ratings to go up, some ratings to go down, and some ratings to remain unchanged.  </a:t>
            </a:r>
            <a:endParaRPr lang="en-US" dirty="0">
              <a:ea typeface="Calibri"/>
              <a:cs typeface="Calibri"/>
            </a:endParaRPr>
          </a:p>
          <a:p>
            <a:pPr marL="457200" lvl="1" indent="0">
              <a:buNone/>
            </a:pPr>
            <a:endParaRPr lang="en-US" sz="1200">
              <a:ea typeface="Calibri" panose="020F0502020204030204"/>
              <a:cs typeface="Calibri" panose="020F0502020204030204"/>
            </a:endParaRPr>
          </a:p>
          <a:p>
            <a:pPr lvl="1"/>
            <a:r>
              <a:rPr lang="en-US" dirty="0"/>
              <a:t>1170 campuses have a </a:t>
            </a:r>
            <a:r>
              <a:rPr lang="en-US" b="1" dirty="0"/>
              <a:t>higher</a:t>
            </a:r>
            <a:r>
              <a:rPr lang="en-US" dirty="0"/>
              <a:t> final “What If” rating than their actual 2022 final rating.</a:t>
            </a:r>
            <a:endParaRPr lang="en-US" dirty="0">
              <a:cs typeface="Calibri"/>
            </a:endParaRPr>
          </a:p>
        </p:txBody>
      </p:sp>
      <p:graphicFrame>
        <p:nvGraphicFramePr>
          <p:cNvPr id="6" name="Table 5">
            <a:extLst>
              <a:ext uri="{FF2B5EF4-FFF2-40B4-BE49-F238E27FC236}">
                <a16:creationId xmlns:a16="http://schemas.microsoft.com/office/drawing/2014/main" id="{58511B37-8C18-9219-07E2-95F2A29B82F1}"/>
              </a:ext>
            </a:extLst>
          </p:cNvPr>
          <p:cNvGraphicFramePr>
            <a:graphicFrameLocks noGrp="1"/>
          </p:cNvGraphicFramePr>
          <p:nvPr>
            <p:extLst>
              <p:ext uri="{D42A27DB-BD31-4B8C-83A1-F6EECF244321}">
                <p14:modId xmlns:p14="http://schemas.microsoft.com/office/powerpoint/2010/main" val="55704132"/>
              </p:ext>
            </p:extLst>
          </p:nvPr>
        </p:nvGraphicFramePr>
        <p:xfrm>
          <a:off x="519223" y="1488136"/>
          <a:ext cx="5412098" cy="1645920"/>
        </p:xfrm>
        <a:graphic>
          <a:graphicData uri="http://schemas.openxmlformats.org/drawingml/2006/table">
            <a:tbl>
              <a:tblPr firstRow="1" bandRow="1">
                <a:tableStyleId>{5C22544A-7EE6-4342-B048-85BDC9FD1C3A}</a:tableStyleId>
              </a:tblPr>
              <a:tblGrid>
                <a:gridCol w="1225685">
                  <a:extLst>
                    <a:ext uri="{9D8B030D-6E8A-4147-A177-3AD203B41FA5}">
                      <a16:colId xmlns:a16="http://schemas.microsoft.com/office/drawing/2014/main" val="3726067231"/>
                    </a:ext>
                  </a:extLst>
                </a:gridCol>
                <a:gridCol w="1663430">
                  <a:extLst>
                    <a:ext uri="{9D8B030D-6E8A-4147-A177-3AD203B41FA5}">
                      <a16:colId xmlns:a16="http://schemas.microsoft.com/office/drawing/2014/main" val="1775947433"/>
                    </a:ext>
                  </a:extLst>
                </a:gridCol>
                <a:gridCol w="1254868">
                  <a:extLst>
                    <a:ext uri="{9D8B030D-6E8A-4147-A177-3AD203B41FA5}">
                      <a16:colId xmlns:a16="http://schemas.microsoft.com/office/drawing/2014/main" val="2781498154"/>
                    </a:ext>
                  </a:extLst>
                </a:gridCol>
                <a:gridCol w="1268115">
                  <a:extLst>
                    <a:ext uri="{9D8B030D-6E8A-4147-A177-3AD203B41FA5}">
                      <a16:colId xmlns:a16="http://schemas.microsoft.com/office/drawing/2014/main" val="2301525599"/>
                    </a:ext>
                  </a:extLst>
                </a:gridCol>
              </a:tblGrid>
              <a:tr h="414763">
                <a:tc>
                  <a:txBody>
                    <a:bodyPr/>
                    <a:lstStyle/>
                    <a:p>
                      <a:pPr lvl="0" algn="ctr">
                        <a:buNone/>
                      </a:pPr>
                      <a:r>
                        <a:rPr lang="en-US" sz="1800" dirty="0">
                          <a:effectLst/>
                        </a:rPr>
                        <a:t>All Campuses</a:t>
                      </a:r>
                    </a:p>
                    <a:p>
                      <a:pPr lvl="0" algn="ctr">
                        <a:buNone/>
                      </a:pPr>
                      <a:endParaRPr lang="en-US" sz="1800" dirty="0">
                        <a:effectLst/>
                      </a:endParaRPr>
                    </a:p>
                  </a:txBody>
                  <a:tcPr anchor="ctr"/>
                </a:tc>
                <a:tc>
                  <a:txBody>
                    <a:bodyPr/>
                    <a:lstStyle/>
                    <a:p>
                      <a:pPr algn="ctr" fontAlgn="base"/>
                      <a:r>
                        <a:rPr lang="en-US" sz="1800" dirty="0">
                          <a:effectLst/>
                        </a:rPr>
                        <a:t>2021-22 Ratings</a:t>
                      </a:r>
                    </a:p>
                    <a:p>
                      <a:pPr algn="ctr" fontAlgn="base"/>
                      <a:r>
                        <a:rPr lang="en-US" sz="1800" dirty="0">
                          <a:effectLst/>
                        </a:rPr>
                        <a:t>Stay the Same​</a:t>
                      </a:r>
                      <a:endParaRPr lang="en-US" b="1" dirty="0">
                        <a:solidFill>
                          <a:srgbClr val="FFFFFF"/>
                        </a:solidFill>
                        <a:effectLst/>
                      </a:endParaRPr>
                    </a:p>
                  </a:txBody>
                  <a:tcPr anchor="ctr"/>
                </a:tc>
                <a:tc>
                  <a:txBody>
                    <a:bodyPr/>
                    <a:lstStyle/>
                    <a:p>
                      <a:pPr algn="ctr" fontAlgn="base"/>
                      <a:r>
                        <a:rPr lang="en-US" sz="1800" dirty="0">
                          <a:effectLst/>
                        </a:rPr>
                        <a:t>2021-22 Ratings Decrease ​</a:t>
                      </a:r>
                      <a:endParaRPr lang="en-US" b="1" dirty="0">
                        <a:solidFill>
                          <a:srgbClr val="FFFFFF"/>
                        </a:solidFill>
                        <a:effectLst/>
                      </a:endParaRPr>
                    </a:p>
                  </a:txBody>
                  <a:tcPr anchor="ctr"/>
                </a:tc>
                <a:tc>
                  <a:txBody>
                    <a:bodyPr/>
                    <a:lstStyle/>
                    <a:p>
                      <a:pPr algn="ctr" fontAlgn="base"/>
                      <a:r>
                        <a:rPr lang="en-US" sz="1800" dirty="0">
                          <a:effectLst/>
                        </a:rPr>
                        <a:t>2021-22 Ratings Increase ​</a:t>
                      </a:r>
                      <a:endParaRPr lang="en-US" b="1" dirty="0">
                        <a:solidFill>
                          <a:srgbClr val="FFFFFF"/>
                        </a:solidFill>
                        <a:effectLst/>
                      </a:endParaRPr>
                    </a:p>
                  </a:txBody>
                  <a:tcPr anchor="ctr"/>
                </a:tc>
                <a:extLst>
                  <a:ext uri="{0D108BD9-81ED-4DB2-BD59-A6C34878D82A}">
                    <a16:rowId xmlns:a16="http://schemas.microsoft.com/office/drawing/2014/main" val="818945089"/>
                  </a:ext>
                </a:extLst>
              </a:tr>
              <a:tr h="200692">
                <a:tc>
                  <a:txBody>
                    <a:bodyPr/>
                    <a:lstStyle/>
                    <a:p>
                      <a:pPr lvl="0" algn="ctr">
                        <a:buNone/>
                      </a:pPr>
                      <a:r>
                        <a:rPr lang="en-US" sz="1800" dirty="0">
                          <a:effectLst/>
                        </a:rPr>
                        <a:t>Number</a:t>
                      </a:r>
                    </a:p>
                  </a:txBody>
                  <a:tcPr anchor="ctr"/>
                </a:tc>
                <a:tc>
                  <a:txBody>
                    <a:bodyPr/>
                    <a:lstStyle/>
                    <a:p>
                      <a:pPr lvl="0" algn="ctr">
                        <a:buNone/>
                      </a:pPr>
                      <a:r>
                        <a:rPr lang="en-US" sz="1800" b="0" i="0" u="none" strike="noStrike" noProof="0" dirty="0">
                          <a:effectLst/>
                          <a:latin typeface="Calibri"/>
                        </a:rPr>
                        <a:t>5973</a:t>
                      </a:r>
                      <a:endParaRPr lang="en-US" dirty="0"/>
                    </a:p>
                  </a:txBody>
                  <a:tcPr anchor="ctr"/>
                </a:tc>
                <a:tc>
                  <a:txBody>
                    <a:bodyPr/>
                    <a:lstStyle/>
                    <a:p>
                      <a:pPr algn="ctr" fontAlgn="base"/>
                      <a:r>
                        <a:rPr lang="en-US" sz="1800" dirty="0">
                          <a:effectLst/>
                        </a:rPr>
                        <a:t>1303</a:t>
                      </a:r>
                    </a:p>
                  </a:txBody>
                  <a:tcPr anchor="ctr"/>
                </a:tc>
                <a:tc>
                  <a:txBody>
                    <a:bodyPr/>
                    <a:lstStyle/>
                    <a:p>
                      <a:pPr algn="ctr" fontAlgn="base"/>
                      <a:r>
                        <a:rPr lang="en-US" sz="1800" dirty="0">
                          <a:effectLst/>
                        </a:rPr>
                        <a:t>1170</a:t>
                      </a:r>
                    </a:p>
                  </a:txBody>
                  <a:tcPr anchor="ctr"/>
                </a:tc>
                <a:extLst>
                  <a:ext uri="{0D108BD9-81ED-4DB2-BD59-A6C34878D82A}">
                    <a16:rowId xmlns:a16="http://schemas.microsoft.com/office/drawing/2014/main" val="1006326861"/>
                  </a:ext>
                </a:extLst>
              </a:tr>
              <a:tr h="160553">
                <a:tc>
                  <a:txBody>
                    <a:bodyPr/>
                    <a:lstStyle/>
                    <a:p>
                      <a:pPr lvl="0" algn="ctr">
                        <a:buNone/>
                      </a:pPr>
                      <a:r>
                        <a:rPr lang="en-US" sz="1800" dirty="0">
                          <a:effectLst/>
                        </a:rPr>
                        <a:t>Percentage</a:t>
                      </a:r>
                    </a:p>
                  </a:txBody>
                  <a:tcPr anchor="ctr"/>
                </a:tc>
                <a:tc>
                  <a:txBody>
                    <a:bodyPr/>
                    <a:lstStyle/>
                    <a:p>
                      <a:pPr algn="ctr" fontAlgn="base"/>
                      <a:r>
                        <a:rPr lang="en-US" sz="1800" dirty="0">
                          <a:effectLst/>
                        </a:rPr>
                        <a:t>71%</a:t>
                      </a:r>
                    </a:p>
                  </a:txBody>
                  <a:tcPr anchor="ctr"/>
                </a:tc>
                <a:tc>
                  <a:txBody>
                    <a:bodyPr/>
                    <a:lstStyle/>
                    <a:p>
                      <a:pPr algn="ctr" fontAlgn="base"/>
                      <a:r>
                        <a:rPr lang="en-US" sz="1800" dirty="0">
                          <a:effectLst/>
                        </a:rPr>
                        <a:t>15%</a:t>
                      </a:r>
                    </a:p>
                  </a:txBody>
                  <a:tcPr anchor="ctr"/>
                </a:tc>
                <a:tc>
                  <a:txBody>
                    <a:bodyPr/>
                    <a:lstStyle/>
                    <a:p>
                      <a:pPr algn="ctr" fontAlgn="base"/>
                      <a:r>
                        <a:rPr lang="en-US" sz="1800" dirty="0">
                          <a:effectLst/>
                        </a:rPr>
                        <a:t>14%</a:t>
                      </a:r>
                    </a:p>
                  </a:txBody>
                  <a:tcPr anchor="ctr"/>
                </a:tc>
                <a:extLst>
                  <a:ext uri="{0D108BD9-81ED-4DB2-BD59-A6C34878D82A}">
                    <a16:rowId xmlns:a16="http://schemas.microsoft.com/office/drawing/2014/main" val="4250353275"/>
                  </a:ext>
                </a:extLst>
              </a:tr>
            </a:tbl>
          </a:graphicData>
        </a:graphic>
      </p:graphicFrame>
      <p:pic>
        <p:nvPicPr>
          <p:cNvPr id="3" name="Picture 2" descr="A graph of different colored squares&#10;&#10;Description automatically generated">
            <a:extLst>
              <a:ext uri="{FF2B5EF4-FFF2-40B4-BE49-F238E27FC236}">
                <a16:creationId xmlns:a16="http://schemas.microsoft.com/office/drawing/2014/main" id="{F2C029E9-6928-019E-C84E-80A9C9F9CCD0}"/>
              </a:ext>
            </a:extLst>
          </p:cNvPr>
          <p:cNvPicPr>
            <a:picLocks noChangeAspect="1"/>
          </p:cNvPicPr>
          <p:nvPr/>
        </p:nvPicPr>
        <p:blipFill>
          <a:blip r:embed="rId2"/>
          <a:stretch>
            <a:fillRect/>
          </a:stretch>
        </p:blipFill>
        <p:spPr>
          <a:xfrm>
            <a:off x="1676400" y="3303645"/>
            <a:ext cx="3097618" cy="3232257"/>
          </a:xfrm>
          <a:prstGeom prst="rect">
            <a:avLst/>
          </a:prstGeom>
        </p:spPr>
      </p:pic>
      <p:pic>
        <p:nvPicPr>
          <p:cNvPr id="5" name="Picture 4" descr="A group of colorful squares&#10;&#10;Description automatically generated">
            <a:extLst>
              <a:ext uri="{FF2B5EF4-FFF2-40B4-BE49-F238E27FC236}">
                <a16:creationId xmlns:a16="http://schemas.microsoft.com/office/drawing/2014/main" id="{56D219B3-CF70-B83A-4683-F614DB16C102}"/>
              </a:ext>
            </a:extLst>
          </p:cNvPr>
          <p:cNvPicPr>
            <a:picLocks noChangeAspect="1"/>
          </p:cNvPicPr>
          <p:nvPr/>
        </p:nvPicPr>
        <p:blipFill>
          <a:blip r:embed="rId3"/>
          <a:stretch>
            <a:fillRect/>
          </a:stretch>
        </p:blipFill>
        <p:spPr>
          <a:xfrm>
            <a:off x="848944" y="3304731"/>
            <a:ext cx="725450" cy="1471280"/>
          </a:xfrm>
          <a:prstGeom prst="rect">
            <a:avLst/>
          </a:prstGeom>
        </p:spPr>
      </p:pic>
      <p:sp>
        <p:nvSpPr>
          <p:cNvPr id="7" name="TextBox 6">
            <a:extLst>
              <a:ext uri="{FF2B5EF4-FFF2-40B4-BE49-F238E27FC236}">
                <a16:creationId xmlns:a16="http://schemas.microsoft.com/office/drawing/2014/main" id="{02DC4A93-0281-49EA-8CAE-22B16F08C77A}"/>
              </a:ext>
            </a:extLst>
          </p:cNvPr>
          <p:cNvSpPr txBox="1"/>
          <p:nvPr/>
        </p:nvSpPr>
        <p:spPr>
          <a:xfrm>
            <a:off x="1515140" y="6494720"/>
            <a:ext cx="342545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dirty="0">
                <a:cs typeface="Calibri"/>
              </a:rPr>
              <a:t>All Campuses - Overall Ratings</a:t>
            </a:r>
            <a:endParaRPr lang="en-US" dirty="0" err="1">
              <a:cs typeface="Calibri" panose="020F0502020204030204"/>
            </a:endParaRPr>
          </a:p>
        </p:txBody>
      </p:sp>
      <p:sp>
        <p:nvSpPr>
          <p:cNvPr id="9" name="TextBox 8">
            <a:extLst>
              <a:ext uri="{FF2B5EF4-FFF2-40B4-BE49-F238E27FC236}">
                <a16:creationId xmlns:a16="http://schemas.microsoft.com/office/drawing/2014/main" id="{EB97CC5E-D565-5996-6C13-7FC6974F91EE}"/>
              </a:ext>
            </a:extLst>
          </p:cNvPr>
          <p:cNvSpPr txBox="1"/>
          <p:nvPr/>
        </p:nvSpPr>
        <p:spPr>
          <a:xfrm>
            <a:off x="456315" y="2188534"/>
            <a:ext cx="1378688" cy="23852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950" i="1" dirty="0">
                <a:solidFill>
                  <a:schemeClr val="bg1"/>
                </a:solidFill>
                <a:cs typeface="Calibri"/>
              </a:rPr>
              <a:t>Excludes 520 Not Rated</a:t>
            </a:r>
          </a:p>
        </p:txBody>
      </p:sp>
    </p:spTree>
    <p:extLst>
      <p:ext uri="{BB962C8B-B14F-4D97-AF65-F5344CB8AC3E}">
        <p14:creationId xmlns:p14="http://schemas.microsoft.com/office/powerpoint/2010/main" val="23634804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03A14E-0327-76B4-4D43-018EAFE80796}"/>
              </a:ext>
            </a:extLst>
          </p:cNvPr>
          <p:cNvSpPr>
            <a:spLocks noGrp="1"/>
          </p:cNvSpPr>
          <p:nvPr>
            <p:ph type="title"/>
          </p:nvPr>
        </p:nvSpPr>
        <p:spPr/>
        <p:txBody>
          <a:bodyPr>
            <a:noAutofit/>
          </a:bodyPr>
          <a:lstStyle/>
          <a:p>
            <a:r>
              <a:rPr lang="en-US" sz="2800"/>
              <a:t>“What If” ratings viewed statewide for context</a:t>
            </a:r>
          </a:p>
        </p:txBody>
      </p:sp>
      <p:graphicFrame>
        <p:nvGraphicFramePr>
          <p:cNvPr id="6" name="Table 5">
            <a:extLst>
              <a:ext uri="{FF2B5EF4-FFF2-40B4-BE49-F238E27FC236}">
                <a16:creationId xmlns:a16="http://schemas.microsoft.com/office/drawing/2014/main" id="{58511B37-8C18-9219-07E2-95F2A29B82F1}"/>
              </a:ext>
            </a:extLst>
          </p:cNvPr>
          <p:cNvGraphicFramePr>
            <a:graphicFrameLocks noGrp="1"/>
          </p:cNvGraphicFramePr>
          <p:nvPr>
            <p:extLst>
              <p:ext uri="{D42A27DB-BD31-4B8C-83A1-F6EECF244321}">
                <p14:modId xmlns:p14="http://schemas.microsoft.com/office/powerpoint/2010/main" val="540591979"/>
              </p:ext>
            </p:extLst>
          </p:nvPr>
        </p:nvGraphicFramePr>
        <p:xfrm>
          <a:off x="7956697" y="2161953"/>
          <a:ext cx="4010022" cy="3169920"/>
        </p:xfrm>
        <a:graphic>
          <a:graphicData uri="http://schemas.openxmlformats.org/drawingml/2006/table">
            <a:tbl>
              <a:tblPr firstRow="1" bandRow="1">
                <a:tableStyleId>{5C22544A-7EE6-4342-B048-85BDC9FD1C3A}</a:tableStyleId>
              </a:tblPr>
              <a:tblGrid>
                <a:gridCol w="1020882">
                  <a:extLst>
                    <a:ext uri="{9D8B030D-6E8A-4147-A177-3AD203B41FA5}">
                      <a16:colId xmlns:a16="http://schemas.microsoft.com/office/drawing/2014/main" val="2245542313"/>
                    </a:ext>
                  </a:extLst>
                </a:gridCol>
                <a:gridCol w="1291368">
                  <a:extLst>
                    <a:ext uri="{9D8B030D-6E8A-4147-A177-3AD203B41FA5}">
                      <a16:colId xmlns:a16="http://schemas.microsoft.com/office/drawing/2014/main" val="1775947433"/>
                    </a:ext>
                  </a:extLst>
                </a:gridCol>
                <a:gridCol w="872967">
                  <a:extLst>
                    <a:ext uri="{9D8B030D-6E8A-4147-A177-3AD203B41FA5}">
                      <a16:colId xmlns:a16="http://schemas.microsoft.com/office/drawing/2014/main" val="2781498154"/>
                    </a:ext>
                  </a:extLst>
                </a:gridCol>
                <a:gridCol w="824805">
                  <a:extLst>
                    <a:ext uri="{9D8B030D-6E8A-4147-A177-3AD203B41FA5}">
                      <a16:colId xmlns:a16="http://schemas.microsoft.com/office/drawing/2014/main" val="2301525599"/>
                    </a:ext>
                  </a:extLst>
                </a:gridCol>
              </a:tblGrid>
              <a:tr h="451901">
                <a:tc>
                  <a:txBody>
                    <a:bodyPr/>
                    <a:lstStyle/>
                    <a:p>
                      <a:pPr lvl="0" algn="ctr">
                        <a:buNone/>
                      </a:pPr>
                      <a:r>
                        <a:rPr lang="en-US" sz="1400" dirty="0">
                          <a:effectLst/>
                        </a:rPr>
                        <a:t>Campus Type</a:t>
                      </a:r>
                    </a:p>
                  </a:txBody>
                  <a:tcPr anchor="ctr"/>
                </a:tc>
                <a:tc>
                  <a:txBody>
                    <a:bodyPr/>
                    <a:lstStyle/>
                    <a:p>
                      <a:pPr algn="ctr" fontAlgn="base"/>
                      <a:r>
                        <a:rPr lang="en-US" sz="1400" dirty="0">
                          <a:effectLst/>
                        </a:rPr>
                        <a:t>2021-22 Ratings</a:t>
                      </a:r>
                    </a:p>
                    <a:p>
                      <a:pPr algn="ctr" fontAlgn="base"/>
                      <a:r>
                        <a:rPr lang="en-US" sz="1400" dirty="0">
                          <a:effectLst/>
                        </a:rPr>
                        <a:t>Stay the Same​</a:t>
                      </a:r>
                      <a:endParaRPr lang="en-US" sz="1400" b="1">
                        <a:solidFill>
                          <a:srgbClr val="FFFFFF"/>
                        </a:solidFill>
                        <a:effectLst/>
                      </a:endParaRPr>
                    </a:p>
                  </a:txBody>
                  <a:tcPr anchor="ctr"/>
                </a:tc>
                <a:tc>
                  <a:txBody>
                    <a:bodyPr/>
                    <a:lstStyle/>
                    <a:p>
                      <a:pPr algn="ctr" fontAlgn="base"/>
                      <a:r>
                        <a:rPr lang="en-US" sz="1400" dirty="0">
                          <a:effectLst/>
                        </a:rPr>
                        <a:t>2021-22 Ratings Decrease</a:t>
                      </a:r>
                    </a:p>
                  </a:txBody>
                  <a:tcPr anchor="ctr"/>
                </a:tc>
                <a:tc>
                  <a:txBody>
                    <a:bodyPr/>
                    <a:lstStyle/>
                    <a:p>
                      <a:pPr algn="ctr" fontAlgn="base"/>
                      <a:r>
                        <a:rPr lang="en-US" sz="1400" dirty="0">
                          <a:effectLst/>
                        </a:rPr>
                        <a:t>2021-22 Ratings Increase</a:t>
                      </a:r>
                    </a:p>
                  </a:txBody>
                  <a:tcPr anchor="ctr"/>
                </a:tc>
                <a:extLst>
                  <a:ext uri="{0D108BD9-81ED-4DB2-BD59-A6C34878D82A}">
                    <a16:rowId xmlns:a16="http://schemas.microsoft.com/office/drawing/2014/main" val="818945089"/>
                  </a:ext>
                </a:extLst>
              </a:tr>
              <a:tr h="187374">
                <a:tc rowSpan="2">
                  <a:txBody>
                    <a:bodyPr/>
                    <a:lstStyle/>
                    <a:p>
                      <a:pPr lvl="0" algn="ctr">
                        <a:buNone/>
                      </a:pPr>
                      <a:r>
                        <a:rPr lang="en-US" sz="1400" dirty="0">
                          <a:effectLst/>
                        </a:rPr>
                        <a:t>Elementary</a:t>
                      </a:r>
                      <a:endParaRPr lang="en-US" dirty="0"/>
                    </a:p>
                  </a:txBody>
                  <a:tcPr anchor="ctr"/>
                </a:tc>
                <a:tc>
                  <a:txBody>
                    <a:bodyPr/>
                    <a:lstStyle/>
                    <a:p>
                      <a:pPr lvl="0" algn="ctr">
                        <a:buNone/>
                      </a:pPr>
                      <a:r>
                        <a:rPr lang="en-US" sz="1400" b="0" i="0" u="none" strike="noStrike" noProof="0" dirty="0">
                          <a:effectLst/>
                          <a:latin typeface="Calibri"/>
                        </a:rPr>
                        <a:t>3565</a:t>
                      </a:r>
                      <a:endParaRPr lang="en-US" dirty="0"/>
                    </a:p>
                  </a:txBody>
                  <a:tcPr anchor="ctr"/>
                </a:tc>
                <a:tc>
                  <a:txBody>
                    <a:bodyPr/>
                    <a:lstStyle/>
                    <a:p>
                      <a:pPr algn="ctr" fontAlgn="base"/>
                      <a:r>
                        <a:rPr lang="en-US" sz="1400" dirty="0">
                          <a:effectLst/>
                        </a:rPr>
                        <a:t>345</a:t>
                      </a:r>
                    </a:p>
                  </a:txBody>
                  <a:tcPr anchor="ctr"/>
                </a:tc>
                <a:tc>
                  <a:txBody>
                    <a:bodyPr/>
                    <a:lstStyle/>
                    <a:p>
                      <a:pPr algn="ctr" fontAlgn="base"/>
                      <a:r>
                        <a:rPr lang="en-US" sz="1400" dirty="0">
                          <a:effectLst/>
                        </a:rPr>
                        <a:t>911</a:t>
                      </a:r>
                    </a:p>
                  </a:txBody>
                  <a:tcPr anchor="ctr"/>
                </a:tc>
                <a:extLst>
                  <a:ext uri="{0D108BD9-81ED-4DB2-BD59-A6C34878D82A}">
                    <a16:rowId xmlns:a16="http://schemas.microsoft.com/office/drawing/2014/main" val="1006326861"/>
                  </a:ext>
                </a:extLst>
              </a:tr>
              <a:tr h="187374">
                <a:tc vMerge="1">
                  <a:txBody>
                    <a:bodyPr/>
                    <a:lstStyle/>
                    <a:p>
                      <a:endParaRPr lang="en-US"/>
                    </a:p>
                  </a:txBody>
                  <a:tcPr anchor="ctr"/>
                </a:tc>
                <a:tc>
                  <a:txBody>
                    <a:bodyPr/>
                    <a:lstStyle/>
                    <a:p>
                      <a:pPr algn="ctr" fontAlgn="base"/>
                      <a:r>
                        <a:rPr lang="en-US" sz="1400" b="1" dirty="0">
                          <a:effectLst/>
                        </a:rPr>
                        <a:t>74%</a:t>
                      </a:r>
                    </a:p>
                  </a:txBody>
                  <a:tcPr anchor="ctr"/>
                </a:tc>
                <a:tc>
                  <a:txBody>
                    <a:bodyPr/>
                    <a:lstStyle/>
                    <a:p>
                      <a:pPr algn="ctr" fontAlgn="base"/>
                      <a:r>
                        <a:rPr lang="en-US" sz="1400" b="1" dirty="0">
                          <a:effectLst/>
                        </a:rPr>
                        <a:t>7%</a:t>
                      </a:r>
                    </a:p>
                  </a:txBody>
                  <a:tcPr anchor="ctr"/>
                </a:tc>
                <a:tc>
                  <a:txBody>
                    <a:bodyPr/>
                    <a:lstStyle/>
                    <a:p>
                      <a:pPr algn="ctr" fontAlgn="base"/>
                      <a:r>
                        <a:rPr lang="en-US" sz="1400" b="1" dirty="0">
                          <a:effectLst/>
                        </a:rPr>
                        <a:t>19%</a:t>
                      </a:r>
                    </a:p>
                  </a:txBody>
                  <a:tcPr anchor="ctr"/>
                </a:tc>
                <a:extLst>
                  <a:ext uri="{0D108BD9-81ED-4DB2-BD59-A6C34878D82A}">
                    <a16:rowId xmlns:a16="http://schemas.microsoft.com/office/drawing/2014/main" val="4250353275"/>
                  </a:ext>
                </a:extLst>
              </a:tr>
              <a:tr h="187374">
                <a:tc rowSpan="2">
                  <a:txBody>
                    <a:bodyPr/>
                    <a:lstStyle/>
                    <a:p>
                      <a:pPr lvl="0" algn="ctr">
                        <a:buNone/>
                      </a:pPr>
                      <a:r>
                        <a:rPr lang="en-US" sz="1400" dirty="0">
                          <a:effectLst/>
                        </a:rPr>
                        <a:t>Middle</a:t>
                      </a:r>
                      <a:endParaRPr lang="en-US" dirty="0"/>
                    </a:p>
                  </a:txBody>
                  <a:tcPr anchor="ctr"/>
                </a:tc>
                <a:tc>
                  <a:txBody>
                    <a:bodyPr/>
                    <a:lstStyle/>
                    <a:p>
                      <a:pPr lvl="0" algn="ctr">
                        <a:buNone/>
                      </a:pPr>
                      <a:r>
                        <a:rPr lang="en-US" sz="1400" dirty="0">
                          <a:effectLst/>
                        </a:rPr>
                        <a:t>1416</a:t>
                      </a:r>
                    </a:p>
                  </a:txBody>
                  <a:tcPr anchor="ctr"/>
                </a:tc>
                <a:tc>
                  <a:txBody>
                    <a:bodyPr/>
                    <a:lstStyle/>
                    <a:p>
                      <a:pPr lvl="0" algn="ctr">
                        <a:buNone/>
                      </a:pPr>
                      <a:r>
                        <a:rPr lang="en-US" sz="1400" dirty="0">
                          <a:effectLst/>
                        </a:rPr>
                        <a:t>94</a:t>
                      </a:r>
                    </a:p>
                  </a:txBody>
                  <a:tcPr anchor="ctr"/>
                </a:tc>
                <a:tc>
                  <a:txBody>
                    <a:bodyPr/>
                    <a:lstStyle/>
                    <a:p>
                      <a:pPr lvl="0" algn="ctr">
                        <a:buNone/>
                      </a:pPr>
                      <a:r>
                        <a:rPr lang="en-US" sz="1400" dirty="0">
                          <a:effectLst/>
                        </a:rPr>
                        <a:t>177</a:t>
                      </a:r>
                    </a:p>
                  </a:txBody>
                  <a:tcPr anchor="ctr"/>
                </a:tc>
                <a:extLst>
                  <a:ext uri="{0D108BD9-81ED-4DB2-BD59-A6C34878D82A}">
                    <a16:rowId xmlns:a16="http://schemas.microsoft.com/office/drawing/2014/main" val="1818768232"/>
                  </a:ext>
                </a:extLst>
              </a:tr>
              <a:tr h="187374">
                <a:tc vMerge="1">
                  <a:txBody>
                    <a:bodyPr/>
                    <a:lstStyle/>
                    <a:p>
                      <a:endParaRPr lang="en-US"/>
                    </a:p>
                  </a:txBody>
                  <a:tcPr anchor="ctr"/>
                </a:tc>
                <a:tc>
                  <a:txBody>
                    <a:bodyPr/>
                    <a:lstStyle/>
                    <a:p>
                      <a:pPr lvl="0" algn="ctr">
                        <a:buNone/>
                      </a:pPr>
                      <a:r>
                        <a:rPr lang="en-US" sz="1400" b="1" dirty="0">
                          <a:effectLst/>
                        </a:rPr>
                        <a:t>84%</a:t>
                      </a:r>
                    </a:p>
                  </a:txBody>
                  <a:tcPr anchor="ctr"/>
                </a:tc>
                <a:tc>
                  <a:txBody>
                    <a:bodyPr/>
                    <a:lstStyle/>
                    <a:p>
                      <a:pPr lvl="0" algn="ctr">
                        <a:buNone/>
                      </a:pPr>
                      <a:r>
                        <a:rPr lang="en-US" sz="1400" b="1" dirty="0">
                          <a:effectLst/>
                        </a:rPr>
                        <a:t>6%</a:t>
                      </a:r>
                    </a:p>
                  </a:txBody>
                  <a:tcPr anchor="ctr"/>
                </a:tc>
                <a:tc>
                  <a:txBody>
                    <a:bodyPr/>
                    <a:lstStyle/>
                    <a:p>
                      <a:pPr lvl="0" algn="ctr">
                        <a:buNone/>
                      </a:pPr>
                      <a:r>
                        <a:rPr lang="en-US" sz="1400" b="1" dirty="0">
                          <a:effectLst/>
                        </a:rPr>
                        <a:t>10%</a:t>
                      </a:r>
                    </a:p>
                  </a:txBody>
                  <a:tcPr anchor="ctr"/>
                </a:tc>
                <a:extLst>
                  <a:ext uri="{0D108BD9-81ED-4DB2-BD59-A6C34878D82A}">
                    <a16:rowId xmlns:a16="http://schemas.microsoft.com/office/drawing/2014/main" val="824659912"/>
                  </a:ext>
                </a:extLst>
              </a:tr>
              <a:tr h="187373">
                <a:tc rowSpan="2">
                  <a:txBody>
                    <a:bodyPr/>
                    <a:lstStyle/>
                    <a:p>
                      <a:pPr lvl="0" algn="ctr">
                        <a:buNone/>
                      </a:pPr>
                      <a:r>
                        <a:rPr lang="en-US" sz="1400" dirty="0">
                          <a:effectLst/>
                        </a:rPr>
                        <a:t>High</a:t>
                      </a:r>
                    </a:p>
                  </a:txBody>
                  <a:tcPr anchor="ctr"/>
                </a:tc>
                <a:tc>
                  <a:txBody>
                    <a:bodyPr/>
                    <a:lstStyle/>
                    <a:p>
                      <a:pPr lvl="0" algn="ctr">
                        <a:buNone/>
                      </a:pPr>
                      <a:r>
                        <a:rPr lang="en-US" sz="1400" dirty="0">
                          <a:effectLst/>
                        </a:rPr>
                        <a:t>740</a:t>
                      </a:r>
                    </a:p>
                  </a:txBody>
                  <a:tcPr anchor="ctr"/>
                </a:tc>
                <a:tc>
                  <a:txBody>
                    <a:bodyPr/>
                    <a:lstStyle/>
                    <a:p>
                      <a:pPr lvl="0" algn="ctr">
                        <a:buNone/>
                      </a:pPr>
                      <a:r>
                        <a:rPr lang="en-US" sz="1400" dirty="0">
                          <a:effectLst/>
                        </a:rPr>
                        <a:t>709</a:t>
                      </a:r>
                    </a:p>
                  </a:txBody>
                  <a:tcPr anchor="ctr"/>
                </a:tc>
                <a:tc>
                  <a:txBody>
                    <a:bodyPr/>
                    <a:lstStyle/>
                    <a:p>
                      <a:pPr lvl="0" algn="ctr">
                        <a:buNone/>
                      </a:pPr>
                      <a:r>
                        <a:rPr lang="en-US" sz="1400" dirty="0">
                          <a:effectLst/>
                        </a:rPr>
                        <a:t>63</a:t>
                      </a:r>
                    </a:p>
                  </a:txBody>
                  <a:tcPr anchor="ctr"/>
                </a:tc>
                <a:extLst>
                  <a:ext uri="{0D108BD9-81ED-4DB2-BD59-A6C34878D82A}">
                    <a16:rowId xmlns:a16="http://schemas.microsoft.com/office/drawing/2014/main" val="263388641"/>
                  </a:ext>
                </a:extLst>
              </a:tr>
              <a:tr h="187373">
                <a:tc vMerge="1">
                  <a:txBody>
                    <a:bodyPr/>
                    <a:lstStyle/>
                    <a:p>
                      <a:endParaRPr lang="en-US"/>
                    </a:p>
                  </a:txBody>
                  <a:tcPr anchor="ctr"/>
                </a:tc>
                <a:tc>
                  <a:txBody>
                    <a:bodyPr/>
                    <a:lstStyle/>
                    <a:p>
                      <a:pPr lvl="0" algn="ctr">
                        <a:buNone/>
                      </a:pPr>
                      <a:r>
                        <a:rPr lang="en-US" sz="1400" b="1" dirty="0">
                          <a:effectLst/>
                        </a:rPr>
                        <a:t>49%</a:t>
                      </a:r>
                    </a:p>
                  </a:txBody>
                  <a:tcPr anchor="ctr"/>
                </a:tc>
                <a:tc>
                  <a:txBody>
                    <a:bodyPr/>
                    <a:lstStyle/>
                    <a:p>
                      <a:pPr lvl="0" algn="ctr">
                        <a:buNone/>
                      </a:pPr>
                      <a:r>
                        <a:rPr lang="en-US" sz="1400" b="1" dirty="0">
                          <a:effectLst/>
                        </a:rPr>
                        <a:t>47%</a:t>
                      </a:r>
                    </a:p>
                  </a:txBody>
                  <a:tcPr anchor="ctr"/>
                </a:tc>
                <a:tc>
                  <a:txBody>
                    <a:bodyPr/>
                    <a:lstStyle/>
                    <a:p>
                      <a:pPr lvl="0" algn="ctr">
                        <a:buNone/>
                      </a:pPr>
                      <a:r>
                        <a:rPr lang="en-US" sz="1400" b="1" dirty="0">
                          <a:effectLst/>
                        </a:rPr>
                        <a:t>4%</a:t>
                      </a:r>
                    </a:p>
                  </a:txBody>
                  <a:tcPr anchor="ctr"/>
                </a:tc>
                <a:extLst>
                  <a:ext uri="{0D108BD9-81ED-4DB2-BD59-A6C34878D82A}">
                    <a16:rowId xmlns:a16="http://schemas.microsoft.com/office/drawing/2014/main" val="2051362629"/>
                  </a:ext>
                </a:extLst>
              </a:tr>
              <a:tr h="187373">
                <a:tc rowSpan="2">
                  <a:txBody>
                    <a:bodyPr/>
                    <a:lstStyle/>
                    <a:p>
                      <a:pPr lvl="0" algn="ctr">
                        <a:buNone/>
                      </a:pPr>
                      <a:r>
                        <a:rPr lang="en-US" sz="1400" dirty="0">
                          <a:effectLst/>
                        </a:rPr>
                        <a:t>K-12</a:t>
                      </a:r>
                    </a:p>
                  </a:txBody>
                  <a:tcPr anchor="ctr"/>
                </a:tc>
                <a:tc>
                  <a:txBody>
                    <a:bodyPr/>
                    <a:lstStyle/>
                    <a:p>
                      <a:pPr lvl="0" algn="ctr">
                        <a:buNone/>
                      </a:pPr>
                      <a:r>
                        <a:rPr lang="en-US" sz="1400" dirty="0">
                          <a:effectLst/>
                        </a:rPr>
                        <a:t>252</a:t>
                      </a:r>
                    </a:p>
                  </a:txBody>
                  <a:tcPr anchor="ctr"/>
                </a:tc>
                <a:tc>
                  <a:txBody>
                    <a:bodyPr/>
                    <a:lstStyle/>
                    <a:p>
                      <a:pPr lvl="0" algn="ctr">
                        <a:buNone/>
                      </a:pPr>
                      <a:r>
                        <a:rPr lang="en-US" sz="1400" dirty="0">
                          <a:effectLst/>
                        </a:rPr>
                        <a:t>155</a:t>
                      </a:r>
                    </a:p>
                  </a:txBody>
                  <a:tcPr anchor="ctr"/>
                </a:tc>
                <a:tc>
                  <a:txBody>
                    <a:bodyPr/>
                    <a:lstStyle/>
                    <a:p>
                      <a:pPr lvl="0" algn="ctr">
                        <a:buNone/>
                      </a:pPr>
                      <a:r>
                        <a:rPr lang="en-US" sz="1400" dirty="0">
                          <a:effectLst/>
                        </a:rPr>
                        <a:t>19</a:t>
                      </a:r>
                    </a:p>
                  </a:txBody>
                  <a:tcPr anchor="ctr"/>
                </a:tc>
                <a:extLst>
                  <a:ext uri="{0D108BD9-81ED-4DB2-BD59-A6C34878D82A}">
                    <a16:rowId xmlns:a16="http://schemas.microsoft.com/office/drawing/2014/main" val="861331351"/>
                  </a:ext>
                </a:extLst>
              </a:tr>
              <a:tr h="187373">
                <a:tc vMerge="1">
                  <a:txBody>
                    <a:bodyPr/>
                    <a:lstStyle/>
                    <a:p>
                      <a:endParaRPr lang="en-US"/>
                    </a:p>
                  </a:txBody>
                  <a:tcPr anchor="ctr"/>
                </a:tc>
                <a:tc>
                  <a:txBody>
                    <a:bodyPr/>
                    <a:lstStyle/>
                    <a:p>
                      <a:pPr lvl="0" algn="ctr">
                        <a:buNone/>
                      </a:pPr>
                      <a:r>
                        <a:rPr lang="en-US" sz="1400" b="1" dirty="0">
                          <a:effectLst/>
                        </a:rPr>
                        <a:t>59%</a:t>
                      </a:r>
                    </a:p>
                  </a:txBody>
                  <a:tcPr anchor="ctr"/>
                </a:tc>
                <a:tc>
                  <a:txBody>
                    <a:bodyPr/>
                    <a:lstStyle/>
                    <a:p>
                      <a:pPr lvl="0" algn="ctr">
                        <a:buNone/>
                      </a:pPr>
                      <a:r>
                        <a:rPr lang="en-US" sz="1400" b="1" dirty="0">
                          <a:effectLst/>
                        </a:rPr>
                        <a:t>36%</a:t>
                      </a:r>
                    </a:p>
                  </a:txBody>
                  <a:tcPr anchor="ctr"/>
                </a:tc>
                <a:tc>
                  <a:txBody>
                    <a:bodyPr/>
                    <a:lstStyle/>
                    <a:p>
                      <a:pPr lvl="0" algn="ctr">
                        <a:buNone/>
                      </a:pPr>
                      <a:r>
                        <a:rPr lang="en-US" sz="1400" b="1" dirty="0">
                          <a:effectLst/>
                        </a:rPr>
                        <a:t>5%</a:t>
                      </a:r>
                    </a:p>
                  </a:txBody>
                  <a:tcPr anchor="ctr"/>
                </a:tc>
                <a:extLst>
                  <a:ext uri="{0D108BD9-81ED-4DB2-BD59-A6C34878D82A}">
                    <a16:rowId xmlns:a16="http://schemas.microsoft.com/office/drawing/2014/main" val="4260335465"/>
                  </a:ext>
                </a:extLst>
              </a:tr>
            </a:tbl>
          </a:graphicData>
        </a:graphic>
      </p:graphicFrame>
      <p:pic>
        <p:nvPicPr>
          <p:cNvPr id="5" name="Picture 4" descr="A group of colorful squares&#10;&#10;Description automatically generated">
            <a:extLst>
              <a:ext uri="{FF2B5EF4-FFF2-40B4-BE49-F238E27FC236}">
                <a16:creationId xmlns:a16="http://schemas.microsoft.com/office/drawing/2014/main" id="{56D219B3-CF70-B83A-4683-F614DB16C102}"/>
              </a:ext>
            </a:extLst>
          </p:cNvPr>
          <p:cNvPicPr>
            <a:picLocks noChangeAspect="1"/>
          </p:cNvPicPr>
          <p:nvPr/>
        </p:nvPicPr>
        <p:blipFill rotWithShape="1">
          <a:blip r:embed="rId2"/>
          <a:srcRect r="610" b="17718"/>
          <a:stretch/>
        </p:blipFill>
        <p:spPr>
          <a:xfrm>
            <a:off x="140107" y="2923731"/>
            <a:ext cx="721028" cy="1210604"/>
          </a:xfrm>
          <a:prstGeom prst="rect">
            <a:avLst/>
          </a:prstGeom>
        </p:spPr>
      </p:pic>
      <p:sp>
        <p:nvSpPr>
          <p:cNvPr id="7" name="TextBox 6">
            <a:extLst>
              <a:ext uri="{FF2B5EF4-FFF2-40B4-BE49-F238E27FC236}">
                <a16:creationId xmlns:a16="http://schemas.microsoft.com/office/drawing/2014/main" id="{02DC4A93-0281-49EA-8CAE-22B16F08C77A}"/>
              </a:ext>
            </a:extLst>
          </p:cNvPr>
          <p:cNvSpPr txBox="1"/>
          <p:nvPr/>
        </p:nvSpPr>
        <p:spPr>
          <a:xfrm>
            <a:off x="310117" y="6335232"/>
            <a:ext cx="342545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dirty="0">
                <a:cs typeface="Calibri"/>
              </a:rPr>
              <a:t>Elementary</a:t>
            </a:r>
            <a:endParaRPr lang="en-US" dirty="0" err="1">
              <a:cs typeface="Calibri" panose="020F0502020204030204"/>
            </a:endParaRPr>
          </a:p>
        </p:txBody>
      </p:sp>
      <p:sp>
        <p:nvSpPr>
          <p:cNvPr id="13" name="TextBox 12">
            <a:extLst>
              <a:ext uri="{FF2B5EF4-FFF2-40B4-BE49-F238E27FC236}">
                <a16:creationId xmlns:a16="http://schemas.microsoft.com/office/drawing/2014/main" id="{788CDE57-3B87-2A90-FBDC-A67C374876E1}"/>
              </a:ext>
            </a:extLst>
          </p:cNvPr>
          <p:cNvSpPr txBox="1"/>
          <p:nvPr/>
        </p:nvSpPr>
        <p:spPr>
          <a:xfrm>
            <a:off x="2596116" y="6335232"/>
            <a:ext cx="342545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dirty="0">
                <a:cs typeface="Calibri"/>
              </a:rPr>
              <a:t>Middle</a:t>
            </a:r>
            <a:endParaRPr lang="en-US" dirty="0" err="1">
              <a:cs typeface="Calibri" panose="020F0502020204030204"/>
            </a:endParaRPr>
          </a:p>
        </p:txBody>
      </p:sp>
      <p:pic>
        <p:nvPicPr>
          <p:cNvPr id="17" name="Picture 16">
            <a:extLst>
              <a:ext uri="{FF2B5EF4-FFF2-40B4-BE49-F238E27FC236}">
                <a16:creationId xmlns:a16="http://schemas.microsoft.com/office/drawing/2014/main" id="{787218C1-C755-A28F-AAE8-B8AF5F9B41A6}"/>
              </a:ext>
            </a:extLst>
          </p:cNvPr>
          <p:cNvPicPr>
            <a:picLocks noChangeAspect="1"/>
          </p:cNvPicPr>
          <p:nvPr/>
        </p:nvPicPr>
        <p:blipFill>
          <a:blip r:embed="rId3"/>
          <a:stretch>
            <a:fillRect/>
          </a:stretch>
        </p:blipFill>
        <p:spPr>
          <a:xfrm>
            <a:off x="3266502" y="1119077"/>
            <a:ext cx="2167972" cy="5253369"/>
          </a:xfrm>
          <a:prstGeom prst="rect">
            <a:avLst/>
          </a:prstGeom>
        </p:spPr>
      </p:pic>
      <p:pic>
        <p:nvPicPr>
          <p:cNvPr id="18" name="Picture 17">
            <a:extLst>
              <a:ext uri="{FF2B5EF4-FFF2-40B4-BE49-F238E27FC236}">
                <a16:creationId xmlns:a16="http://schemas.microsoft.com/office/drawing/2014/main" id="{F5E83E92-AD48-C768-84C8-1633DDF04D1A}"/>
              </a:ext>
            </a:extLst>
          </p:cNvPr>
          <p:cNvPicPr>
            <a:picLocks noChangeAspect="1"/>
          </p:cNvPicPr>
          <p:nvPr/>
        </p:nvPicPr>
        <p:blipFill>
          <a:blip r:embed="rId4"/>
          <a:stretch>
            <a:fillRect/>
          </a:stretch>
        </p:blipFill>
        <p:spPr>
          <a:xfrm>
            <a:off x="936085" y="1114647"/>
            <a:ext cx="2168200" cy="5253369"/>
          </a:xfrm>
          <a:prstGeom prst="rect">
            <a:avLst/>
          </a:prstGeom>
        </p:spPr>
      </p:pic>
      <p:pic>
        <p:nvPicPr>
          <p:cNvPr id="19" name="Picture 18">
            <a:extLst>
              <a:ext uri="{FF2B5EF4-FFF2-40B4-BE49-F238E27FC236}">
                <a16:creationId xmlns:a16="http://schemas.microsoft.com/office/drawing/2014/main" id="{1D75630D-C19B-616A-90F8-996D9B7EE9E6}"/>
              </a:ext>
            </a:extLst>
          </p:cNvPr>
          <p:cNvPicPr>
            <a:picLocks noChangeAspect="1"/>
          </p:cNvPicPr>
          <p:nvPr/>
        </p:nvPicPr>
        <p:blipFill>
          <a:blip r:embed="rId5"/>
          <a:stretch>
            <a:fillRect/>
          </a:stretch>
        </p:blipFill>
        <p:spPr>
          <a:xfrm>
            <a:off x="5653750" y="1150088"/>
            <a:ext cx="2169267" cy="5217928"/>
          </a:xfrm>
          <a:prstGeom prst="rect">
            <a:avLst/>
          </a:prstGeom>
        </p:spPr>
      </p:pic>
      <p:sp>
        <p:nvSpPr>
          <p:cNvPr id="20" name="TextBox 19">
            <a:extLst>
              <a:ext uri="{FF2B5EF4-FFF2-40B4-BE49-F238E27FC236}">
                <a16:creationId xmlns:a16="http://schemas.microsoft.com/office/drawing/2014/main" id="{4198E184-535C-BF06-D151-636294F46218}"/>
              </a:ext>
            </a:extLst>
          </p:cNvPr>
          <p:cNvSpPr txBox="1"/>
          <p:nvPr/>
        </p:nvSpPr>
        <p:spPr>
          <a:xfrm>
            <a:off x="4997302" y="6335232"/>
            <a:ext cx="342545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dirty="0">
                <a:cs typeface="Calibri"/>
              </a:rPr>
              <a:t>High &amp; K-12</a:t>
            </a:r>
            <a:endParaRPr lang="en-US" dirty="0"/>
          </a:p>
        </p:txBody>
      </p:sp>
    </p:spTree>
    <p:extLst>
      <p:ext uri="{BB962C8B-B14F-4D97-AF65-F5344CB8AC3E}">
        <p14:creationId xmlns:p14="http://schemas.microsoft.com/office/powerpoint/2010/main" val="35586252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4C1A67C-4979-04BE-2581-ACB22A08A8E8}"/>
              </a:ext>
            </a:extLst>
          </p:cNvPr>
          <p:cNvGraphicFramePr>
            <a:graphicFrameLocks noChangeAspect="1"/>
          </p:cNvGraphicFramePr>
          <p:nvPr>
            <p:custDataLst>
              <p:tags r:id="rId1"/>
            </p:custDataLst>
            <p:extLst>
              <p:ext uri="{D42A27DB-BD31-4B8C-83A1-F6EECF244321}">
                <p14:modId xmlns:p14="http://schemas.microsoft.com/office/powerpoint/2010/main" val="3771395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74C1A67C-4979-04BE-2581-ACB22A08A8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D03A14E-0327-76B4-4D43-018EAFE80796}"/>
              </a:ext>
            </a:extLst>
          </p:cNvPr>
          <p:cNvSpPr>
            <a:spLocks noGrp="1"/>
          </p:cNvSpPr>
          <p:nvPr>
            <p:ph type="title"/>
          </p:nvPr>
        </p:nvSpPr>
        <p:spPr/>
        <p:txBody>
          <a:bodyPr vert="horz">
            <a:noAutofit/>
          </a:bodyPr>
          <a:lstStyle/>
          <a:p>
            <a:r>
              <a:rPr lang="en-US" sz="2800">
                <a:solidFill>
                  <a:schemeClr val="tx1"/>
                </a:solidFill>
                <a:highlight>
                  <a:srgbClr val="FFFF00"/>
                </a:highlight>
              </a:rPr>
              <a:t>[Customize] </a:t>
            </a:r>
            <a:r>
              <a:rPr lang="en-US" sz="2800"/>
              <a:t>2023 ratings for </a:t>
            </a:r>
            <a:r>
              <a:rPr lang="en-US" sz="2800">
                <a:solidFill>
                  <a:schemeClr val="tx1"/>
                </a:solidFill>
                <a:highlight>
                  <a:srgbClr val="FFFF00"/>
                </a:highlight>
              </a:rPr>
              <a:t>[district]</a:t>
            </a:r>
          </a:p>
        </p:txBody>
      </p:sp>
      <p:graphicFrame>
        <p:nvGraphicFramePr>
          <p:cNvPr id="6" name="Table 5">
            <a:extLst>
              <a:ext uri="{FF2B5EF4-FFF2-40B4-BE49-F238E27FC236}">
                <a16:creationId xmlns:a16="http://schemas.microsoft.com/office/drawing/2014/main" id="{21B5892B-214B-3921-AF1C-489AC63B2F5F}"/>
              </a:ext>
            </a:extLst>
          </p:cNvPr>
          <p:cNvGraphicFramePr>
            <a:graphicFrameLocks/>
          </p:cNvGraphicFramePr>
          <p:nvPr/>
        </p:nvGraphicFramePr>
        <p:xfrm>
          <a:off x="472092" y="1421476"/>
          <a:ext cx="11247815" cy="4393354"/>
        </p:xfrm>
        <a:graphic>
          <a:graphicData uri="http://schemas.openxmlformats.org/drawingml/2006/table">
            <a:tbl>
              <a:tblPr firstRow="1" bandRow="1">
                <a:tableStyleId>{5C22544A-7EE6-4342-B048-85BDC9FD1C3A}</a:tableStyleId>
              </a:tblPr>
              <a:tblGrid>
                <a:gridCol w="2265619">
                  <a:extLst>
                    <a:ext uri="{9D8B030D-6E8A-4147-A177-3AD203B41FA5}">
                      <a16:colId xmlns:a16="http://schemas.microsoft.com/office/drawing/2014/main" val="2460035832"/>
                    </a:ext>
                  </a:extLst>
                </a:gridCol>
                <a:gridCol w="1352508">
                  <a:extLst>
                    <a:ext uri="{9D8B030D-6E8A-4147-A177-3AD203B41FA5}">
                      <a16:colId xmlns:a16="http://schemas.microsoft.com/office/drawing/2014/main" val="270008210"/>
                    </a:ext>
                  </a:extLst>
                </a:gridCol>
                <a:gridCol w="1478135">
                  <a:extLst>
                    <a:ext uri="{9D8B030D-6E8A-4147-A177-3AD203B41FA5}">
                      <a16:colId xmlns:a16="http://schemas.microsoft.com/office/drawing/2014/main" val="3965508422"/>
                    </a:ext>
                  </a:extLst>
                </a:gridCol>
                <a:gridCol w="6151553">
                  <a:extLst>
                    <a:ext uri="{9D8B030D-6E8A-4147-A177-3AD203B41FA5}">
                      <a16:colId xmlns:a16="http://schemas.microsoft.com/office/drawing/2014/main" val="2432764043"/>
                    </a:ext>
                  </a:extLst>
                </a:gridCol>
              </a:tblGrid>
              <a:tr h="506533">
                <a:tc>
                  <a:txBody>
                    <a:bodyPr/>
                    <a:lstStyle/>
                    <a:p>
                      <a:endParaRPr lang="en-US" sz="16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2022 “What If” Sco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lt1"/>
                          </a:solidFill>
                          <a:latin typeface="+mn-lt"/>
                          <a:ea typeface="+mn-ea"/>
                          <a:cs typeface="+mn-cs"/>
                        </a:rPr>
                        <a:t>(2022 data &amp; 2023 methodology)</a:t>
                      </a:r>
                      <a:endParaRPr lang="en-US" sz="1600"/>
                    </a:p>
                  </a:txBody>
                  <a:tcPr anchor="ctr"/>
                </a:tc>
                <a:tc>
                  <a:txBody>
                    <a:bodyPr/>
                    <a:lstStyle/>
                    <a:p>
                      <a:r>
                        <a:rPr lang="en-US" sz="1600"/>
                        <a:t>2023 Score</a:t>
                      </a:r>
                      <a:endParaRPr lang="en-US" sz="1200" b="0" i="0"/>
                    </a:p>
                  </a:txBody>
                  <a:tcPr anchor="ctr"/>
                </a:tc>
                <a:tc>
                  <a:txBody>
                    <a:bodyPr/>
                    <a:lstStyle/>
                    <a:p>
                      <a:r>
                        <a:rPr lang="en-US" sz="1600"/>
                        <a:t>Notes</a:t>
                      </a:r>
                    </a:p>
                  </a:txBody>
                  <a:tcPr anchor="ctr"/>
                </a:tc>
                <a:extLst>
                  <a:ext uri="{0D108BD9-81ED-4DB2-BD59-A6C34878D82A}">
                    <a16:rowId xmlns:a16="http://schemas.microsoft.com/office/drawing/2014/main" val="2937890691"/>
                  </a:ext>
                </a:extLst>
              </a:tr>
              <a:tr h="726765">
                <a:tc>
                  <a:txBody>
                    <a:bodyPr/>
                    <a:lstStyle/>
                    <a:p>
                      <a:r>
                        <a:rPr lang="en-US" sz="1400"/>
                        <a:t>Domain 1 Student Achievement</a:t>
                      </a:r>
                    </a:p>
                  </a:txBody>
                  <a:tcPr anchor="ctr"/>
                </a:tc>
                <a:tc>
                  <a:txBody>
                    <a:bodyPr/>
                    <a:lstStyle/>
                    <a:p>
                      <a:r>
                        <a:rPr lang="en-US" sz="140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highlight>
                            <a:srgbClr val="FFFF00"/>
                          </a:highlight>
                        </a:rPr>
                        <a:t>[enter]</a:t>
                      </a:r>
                    </a:p>
                  </a:txBody>
                  <a:tcPr anchor="ctr"/>
                </a:tc>
                <a:tc>
                  <a:txBody>
                    <a:bodyPr/>
                    <a:lstStyle/>
                    <a:p>
                      <a:r>
                        <a:rPr lang="en-US" sz="1200" kern="1200">
                          <a:solidFill>
                            <a:schemeClr val="dk1"/>
                          </a:solidFill>
                          <a:highlight>
                            <a:srgbClr val="FFFF00"/>
                          </a:highlight>
                          <a:latin typeface="+mn-lt"/>
                          <a:ea typeface="+mn-ea"/>
                          <a:cs typeface="+mn-cs"/>
                        </a:rPr>
                        <a:t>[Add notes or additional context] </a:t>
                      </a:r>
                    </a:p>
                  </a:txBody>
                  <a:tcPr anchor="ctr"/>
                </a:tc>
                <a:extLst>
                  <a:ext uri="{0D108BD9-81ED-4DB2-BD59-A6C34878D82A}">
                    <a16:rowId xmlns:a16="http://schemas.microsoft.com/office/drawing/2014/main" val="3304232842"/>
                  </a:ext>
                </a:extLst>
              </a:tr>
              <a:tr h="374394">
                <a:tc>
                  <a:txBody>
                    <a:bodyPr/>
                    <a:lstStyle/>
                    <a:p>
                      <a:r>
                        <a:rPr lang="en-US" sz="1400"/>
                        <a:t>Domain 2 Student Progress</a:t>
                      </a:r>
                    </a:p>
                  </a:txBody>
                  <a:tcPr anchor="ctr"/>
                </a:tc>
                <a:tc>
                  <a:txBody>
                    <a:bodyPr/>
                    <a:lstStyle/>
                    <a:p>
                      <a:r>
                        <a:rPr lang="en-US" sz="140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highlight>
                            <a:srgbClr val="FFFF00"/>
                          </a:highlight>
                          <a:uLnTx/>
                          <a:uFillTx/>
                          <a:latin typeface="Calibri" panose="020F0502020204030204"/>
                          <a:ea typeface="+mn-ea"/>
                          <a:cs typeface="+mn-cs"/>
                        </a:rPr>
                        <a:t>[Add notes or additional context] </a:t>
                      </a:r>
                    </a:p>
                  </a:txBody>
                  <a:tcPr anchor="ctr"/>
                </a:tc>
                <a:extLst>
                  <a:ext uri="{0D108BD9-81ED-4DB2-BD59-A6C34878D82A}">
                    <a16:rowId xmlns:a16="http://schemas.microsoft.com/office/drawing/2014/main" val="4063796448"/>
                  </a:ext>
                </a:extLst>
              </a:tr>
              <a:tr h="462487">
                <a:tc>
                  <a:txBody>
                    <a:bodyPr/>
                    <a:lstStyle/>
                    <a:p>
                      <a:pPr marL="119063" indent="3175"/>
                      <a:r>
                        <a:rPr lang="en-US" sz="1400" i="0"/>
                        <a:t>Domain 2a Academic Growth</a:t>
                      </a:r>
                    </a:p>
                  </a:txBody>
                  <a:tcPr anchor="ctr"/>
                </a:tc>
                <a:tc>
                  <a:txBody>
                    <a:bodyPr/>
                    <a:lstStyle/>
                    <a:p>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highlight>
                            <a:srgbClr val="FFFF00"/>
                          </a:highlight>
                          <a:uLnTx/>
                          <a:uFillTx/>
                          <a:latin typeface="Calibri" panose="020F0502020204030204"/>
                          <a:ea typeface="+mn-ea"/>
                          <a:cs typeface="+mn-cs"/>
                        </a:rPr>
                        <a:t>[Add notes or additional context] </a:t>
                      </a:r>
                    </a:p>
                  </a:txBody>
                  <a:tcPr anchor="ctr"/>
                </a:tc>
                <a:extLst>
                  <a:ext uri="{0D108BD9-81ED-4DB2-BD59-A6C34878D82A}">
                    <a16:rowId xmlns:a16="http://schemas.microsoft.com/office/drawing/2014/main" val="1273416240"/>
                  </a:ext>
                </a:extLst>
              </a:tr>
              <a:tr h="374394">
                <a:tc>
                  <a:txBody>
                    <a:bodyPr/>
                    <a:lstStyle/>
                    <a:p>
                      <a:pPr marL="119063" indent="3175" algn="l" defTabSz="914400" rtl="0" eaLnBrk="1" latinLnBrk="0" hangingPunct="1"/>
                      <a:r>
                        <a:rPr lang="en-US" sz="1400" i="0" kern="1200">
                          <a:solidFill>
                            <a:schemeClr val="dk1"/>
                          </a:solidFill>
                          <a:latin typeface="+mn-lt"/>
                          <a:ea typeface="+mn-ea"/>
                          <a:cs typeface="+mn-cs"/>
                        </a:rPr>
                        <a:t>Domain 2b Relative Performance</a:t>
                      </a:r>
                    </a:p>
                  </a:txBody>
                  <a:tcPr anchor="ctr"/>
                </a:tc>
                <a:tc>
                  <a:txBody>
                    <a:bodyPr/>
                    <a:lstStyle/>
                    <a:p>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highlight>
                            <a:srgbClr val="FFFF00"/>
                          </a:highlight>
                          <a:uLnTx/>
                          <a:uFillTx/>
                          <a:latin typeface="Calibri" panose="020F0502020204030204"/>
                          <a:ea typeface="+mn-ea"/>
                          <a:cs typeface="+mn-cs"/>
                        </a:rPr>
                        <a:t>[Add notes or additional context] </a:t>
                      </a:r>
                    </a:p>
                  </a:txBody>
                  <a:tcPr anchor="ctr"/>
                </a:tc>
                <a:extLst>
                  <a:ext uri="{0D108BD9-81ED-4DB2-BD59-A6C34878D82A}">
                    <a16:rowId xmlns:a16="http://schemas.microsoft.com/office/drawing/2014/main" val="2572518059"/>
                  </a:ext>
                </a:extLst>
              </a:tr>
              <a:tr h="374394">
                <a:tc>
                  <a:txBody>
                    <a:bodyPr/>
                    <a:lstStyle/>
                    <a:p>
                      <a:r>
                        <a:rPr lang="en-US" sz="1400" i="0"/>
                        <a:t>Best of Domain 1 and Domain 2</a:t>
                      </a:r>
                    </a:p>
                  </a:txBody>
                  <a:tcPr anchor="ctr"/>
                </a:tc>
                <a:tc>
                  <a:txBody>
                    <a:bodyPr/>
                    <a:lstStyle/>
                    <a:p>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highlight>
                            <a:srgbClr val="FFFF00"/>
                          </a:highlight>
                          <a:uLnTx/>
                          <a:uFillTx/>
                          <a:latin typeface="Calibri" panose="020F0502020204030204"/>
                          <a:ea typeface="+mn-ea"/>
                          <a:cs typeface="+mn-cs"/>
                        </a:rPr>
                        <a:t>[Add notes or additional context] </a:t>
                      </a:r>
                    </a:p>
                  </a:txBody>
                  <a:tcPr anchor="ctr"/>
                </a:tc>
                <a:extLst>
                  <a:ext uri="{0D108BD9-81ED-4DB2-BD59-A6C34878D82A}">
                    <a16:rowId xmlns:a16="http://schemas.microsoft.com/office/drawing/2014/main" val="2029422566"/>
                  </a:ext>
                </a:extLst>
              </a:tr>
              <a:tr h="462487">
                <a:tc>
                  <a:txBody>
                    <a:bodyPr/>
                    <a:lstStyle/>
                    <a:p>
                      <a:r>
                        <a:rPr lang="en-US" sz="1400"/>
                        <a:t>Domain 3 Closing the Gaps</a:t>
                      </a:r>
                    </a:p>
                  </a:txBody>
                  <a:tcPr anchor="ctr"/>
                </a:tc>
                <a:tc>
                  <a:txBody>
                    <a:bodyPr/>
                    <a:lstStyle/>
                    <a:p>
                      <a:r>
                        <a:rPr lang="en-US" sz="140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highlight>
                            <a:srgbClr val="FFFF00"/>
                          </a:highlight>
                          <a:uLnTx/>
                          <a:uFillTx/>
                          <a:latin typeface="Calibri" panose="020F0502020204030204"/>
                          <a:ea typeface="+mn-ea"/>
                          <a:cs typeface="+mn-cs"/>
                        </a:rPr>
                        <a:t>[Add notes or additional context] </a:t>
                      </a:r>
                    </a:p>
                  </a:txBody>
                  <a:tcPr anchor="ctr"/>
                </a:tc>
                <a:extLst>
                  <a:ext uri="{0D108BD9-81ED-4DB2-BD59-A6C34878D82A}">
                    <a16:rowId xmlns:a16="http://schemas.microsoft.com/office/drawing/2014/main" val="319962496"/>
                  </a:ext>
                </a:extLst>
              </a:tr>
              <a:tr h="330348">
                <a:tc>
                  <a:txBody>
                    <a:bodyPr/>
                    <a:lstStyle/>
                    <a:p>
                      <a:r>
                        <a:rPr lang="en-US" sz="1400"/>
                        <a:t>Overall</a:t>
                      </a:r>
                    </a:p>
                  </a:txBody>
                  <a:tcPr anchor="ctr"/>
                </a:tc>
                <a:tc>
                  <a:txBody>
                    <a:bodyPr/>
                    <a:lstStyle/>
                    <a:p>
                      <a:r>
                        <a:rPr lang="en-US" sz="140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highlight>
                            <a:srgbClr val="FFFF00"/>
                          </a:highlight>
                          <a:uLnTx/>
                          <a:uFillTx/>
                          <a:latin typeface="Calibri" panose="020F0502020204030204"/>
                          <a:ea typeface="+mn-ea"/>
                          <a:cs typeface="+mn-cs"/>
                        </a:rPr>
                        <a:t>[Add notes or additional context] </a:t>
                      </a:r>
                    </a:p>
                  </a:txBody>
                  <a:tcPr anchor="ctr"/>
                </a:tc>
                <a:extLst>
                  <a:ext uri="{0D108BD9-81ED-4DB2-BD59-A6C34878D82A}">
                    <a16:rowId xmlns:a16="http://schemas.microsoft.com/office/drawing/2014/main" val="2804664255"/>
                  </a:ext>
                </a:extLst>
              </a:tr>
            </a:tbl>
          </a:graphicData>
        </a:graphic>
      </p:graphicFrame>
    </p:spTree>
    <p:extLst>
      <p:ext uri="{BB962C8B-B14F-4D97-AF65-F5344CB8AC3E}">
        <p14:creationId xmlns:p14="http://schemas.microsoft.com/office/powerpoint/2010/main" val="114875548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ED82015-5D79-41C8-CA99-9CF3E66E60AE}"/>
              </a:ext>
            </a:extLst>
          </p:cNvPr>
          <p:cNvGraphicFramePr>
            <a:graphicFrameLocks noChangeAspect="1"/>
          </p:cNvGraphicFramePr>
          <p:nvPr>
            <p:custDataLst>
              <p:tags r:id="rId1"/>
            </p:custDataLst>
            <p:extLst>
              <p:ext uri="{D42A27DB-BD31-4B8C-83A1-F6EECF244321}">
                <p14:modId xmlns:p14="http://schemas.microsoft.com/office/powerpoint/2010/main" val="38967223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1ED82015-5D79-41C8-CA99-9CF3E66E60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3EDA7009-2BC5-08CF-9E0E-3AAC17A15DB1}"/>
              </a:ext>
            </a:extLst>
          </p:cNvPr>
          <p:cNvSpPr>
            <a:spLocks noGrp="1"/>
          </p:cNvSpPr>
          <p:nvPr>
            <p:ph type="ctrTitle"/>
          </p:nvPr>
        </p:nvSpPr>
        <p:spPr>
          <a:xfrm>
            <a:off x="1562595" y="2804295"/>
            <a:ext cx="9386446" cy="1100516"/>
          </a:xfrm>
        </p:spPr>
        <p:txBody>
          <a:bodyPr vert="horz"/>
          <a:lstStyle/>
          <a:p>
            <a:pPr algn="ctr"/>
            <a:r>
              <a:rPr lang="en-US" sz="3600"/>
              <a:t>2023 </a:t>
            </a:r>
            <a:r>
              <a:rPr lang="en-US" sz="3600" i="1"/>
              <a:t>A–F </a:t>
            </a:r>
            <a:r>
              <a:rPr lang="en-US" sz="3600"/>
              <a:t>ratings and 2022 “What If” Ratings</a:t>
            </a:r>
            <a:br>
              <a:rPr lang="en-US" sz="3600"/>
            </a:br>
            <a:r>
              <a:rPr lang="en-US" sz="2800" i="1"/>
              <a:t>Let’s see how we did this year</a:t>
            </a:r>
          </a:p>
        </p:txBody>
      </p:sp>
    </p:spTree>
    <p:extLst>
      <p:ext uri="{BB962C8B-B14F-4D97-AF65-F5344CB8AC3E}">
        <p14:creationId xmlns:p14="http://schemas.microsoft.com/office/powerpoint/2010/main" val="297211936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4C1A67C-4979-04BE-2581-ACB22A08A8E8}"/>
              </a:ext>
            </a:extLst>
          </p:cNvPr>
          <p:cNvGraphicFramePr>
            <a:graphicFrameLocks noChangeAspect="1"/>
          </p:cNvGraphicFramePr>
          <p:nvPr>
            <p:custDataLst>
              <p:tags r:id="rId1"/>
            </p:custDataLst>
            <p:extLst>
              <p:ext uri="{D42A27DB-BD31-4B8C-83A1-F6EECF244321}">
                <p14:modId xmlns:p14="http://schemas.microsoft.com/office/powerpoint/2010/main" val="1843873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74C1A67C-4979-04BE-2581-ACB22A08A8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D03A14E-0327-76B4-4D43-018EAFE80796}"/>
              </a:ext>
            </a:extLst>
          </p:cNvPr>
          <p:cNvSpPr>
            <a:spLocks noGrp="1"/>
          </p:cNvSpPr>
          <p:nvPr>
            <p:ph type="title"/>
          </p:nvPr>
        </p:nvSpPr>
        <p:spPr/>
        <p:txBody>
          <a:bodyPr vert="horz">
            <a:noAutofit/>
          </a:bodyPr>
          <a:lstStyle/>
          <a:p>
            <a:r>
              <a:rPr lang="en-US" sz="2800">
                <a:solidFill>
                  <a:schemeClr val="tx1"/>
                </a:solidFill>
                <a:highlight>
                  <a:srgbClr val="FFFF00"/>
                </a:highlight>
              </a:rPr>
              <a:t>[Customize] </a:t>
            </a:r>
            <a:r>
              <a:rPr lang="en-US" sz="2800"/>
              <a:t>2023 ratings for </a:t>
            </a:r>
            <a:r>
              <a:rPr lang="en-US" sz="2800">
                <a:solidFill>
                  <a:schemeClr val="tx1"/>
                </a:solidFill>
                <a:highlight>
                  <a:srgbClr val="FFFF00"/>
                </a:highlight>
              </a:rPr>
              <a:t>[campus A]</a:t>
            </a:r>
          </a:p>
        </p:txBody>
      </p:sp>
      <p:graphicFrame>
        <p:nvGraphicFramePr>
          <p:cNvPr id="6" name="Table 5">
            <a:extLst>
              <a:ext uri="{FF2B5EF4-FFF2-40B4-BE49-F238E27FC236}">
                <a16:creationId xmlns:a16="http://schemas.microsoft.com/office/drawing/2014/main" id="{21B5892B-214B-3921-AF1C-489AC63B2F5F}"/>
              </a:ext>
            </a:extLst>
          </p:cNvPr>
          <p:cNvGraphicFramePr>
            <a:graphicFrameLocks/>
          </p:cNvGraphicFramePr>
          <p:nvPr>
            <p:extLst>
              <p:ext uri="{D42A27DB-BD31-4B8C-83A1-F6EECF244321}">
                <p14:modId xmlns:p14="http://schemas.microsoft.com/office/powerpoint/2010/main" val="4096022755"/>
              </p:ext>
            </p:extLst>
          </p:nvPr>
        </p:nvGraphicFramePr>
        <p:xfrm>
          <a:off x="472092" y="1421476"/>
          <a:ext cx="11247815" cy="4393354"/>
        </p:xfrm>
        <a:graphic>
          <a:graphicData uri="http://schemas.openxmlformats.org/drawingml/2006/table">
            <a:tbl>
              <a:tblPr firstRow="1" bandRow="1">
                <a:tableStyleId>{5C22544A-7EE6-4342-B048-85BDC9FD1C3A}</a:tableStyleId>
              </a:tblPr>
              <a:tblGrid>
                <a:gridCol w="2265619">
                  <a:extLst>
                    <a:ext uri="{9D8B030D-6E8A-4147-A177-3AD203B41FA5}">
                      <a16:colId xmlns:a16="http://schemas.microsoft.com/office/drawing/2014/main" val="2460035832"/>
                    </a:ext>
                  </a:extLst>
                </a:gridCol>
                <a:gridCol w="1352508">
                  <a:extLst>
                    <a:ext uri="{9D8B030D-6E8A-4147-A177-3AD203B41FA5}">
                      <a16:colId xmlns:a16="http://schemas.microsoft.com/office/drawing/2014/main" val="270008210"/>
                    </a:ext>
                  </a:extLst>
                </a:gridCol>
                <a:gridCol w="1478135">
                  <a:extLst>
                    <a:ext uri="{9D8B030D-6E8A-4147-A177-3AD203B41FA5}">
                      <a16:colId xmlns:a16="http://schemas.microsoft.com/office/drawing/2014/main" val="3965508422"/>
                    </a:ext>
                  </a:extLst>
                </a:gridCol>
                <a:gridCol w="6151553">
                  <a:extLst>
                    <a:ext uri="{9D8B030D-6E8A-4147-A177-3AD203B41FA5}">
                      <a16:colId xmlns:a16="http://schemas.microsoft.com/office/drawing/2014/main" val="2432764043"/>
                    </a:ext>
                  </a:extLst>
                </a:gridCol>
              </a:tblGrid>
              <a:tr h="506533">
                <a:tc>
                  <a:txBody>
                    <a:bodyPr/>
                    <a:lstStyle/>
                    <a:p>
                      <a:endParaRPr lang="en-US" sz="16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2022 “What If” Sco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lt1"/>
                          </a:solidFill>
                          <a:latin typeface="+mn-lt"/>
                          <a:ea typeface="+mn-ea"/>
                          <a:cs typeface="+mn-cs"/>
                        </a:rPr>
                        <a:t>(2022 data &amp; 2023 methodology)</a:t>
                      </a:r>
                      <a:endParaRPr lang="en-US" sz="1600"/>
                    </a:p>
                  </a:txBody>
                  <a:tcPr anchor="ctr"/>
                </a:tc>
                <a:tc>
                  <a:txBody>
                    <a:bodyPr/>
                    <a:lstStyle/>
                    <a:p>
                      <a:r>
                        <a:rPr lang="en-US" sz="1600"/>
                        <a:t>2023 Score</a:t>
                      </a:r>
                      <a:endParaRPr lang="en-US" sz="1200" b="0" i="0"/>
                    </a:p>
                  </a:txBody>
                  <a:tcPr anchor="ctr"/>
                </a:tc>
                <a:tc>
                  <a:txBody>
                    <a:bodyPr/>
                    <a:lstStyle/>
                    <a:p>
                      <a:r>
                        <a:rPr lang="en-US" sz="1600"/>
                        <a:t>Notes</a:t>
                      </a:r>
                    </a:p>
                  </a:txBody>
                  <a:tcPr anchor="ctr"/>
                </a:tc>
                <a:extLst>
                  <a:ext uri="{0D108BD9-81ED-4DB2-BD59-A6C34878D82A}">
                    <a16:rowId xmlns:a16="http://schemas.microsoft.com/office/drawing/2014/main" val="2937890691"/>
                  </a:ext>
                </a:extLst>
              </a:tr>
              <a:tr h="726765">
                <a:tc>
                  <a:txBody>
                    <a:bodyPr/>
                    <a:lstStyle/>
                    <a:p>
                      <a:r>
                        <a:rPr lang="en-US" sz="1400"/>
                        <a:t>Domain 1 Student Achievement</a:t>
                      </a:r>
                    </a:p>
                  </a:txBody>
                  <a:tcPr anchor="ctr"/>
                </a:tc>
                <a:tc>
                  <a:txBody>
                    <a:bodyPr/>
                    <a:lstStyle/>
                    <a:p>
                      <a:r>
                        <a:rPr lang="en-US" sz="140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highlight>
                            <a:srgbClr val="FFFF00"/>
                          </a:highlight>
                        </a:rPr>
                        <a:t>[enter]</a:t>
                      </a:r>
                    </a:p>
                  </a:txBody>
                  <a:tcPr anchor="ctr"/>
                </a:tc>
                <a:tc>
                  <a:txBody>
                    <a:bodyPr/>
                    <a:lstStyle/>
                    <a:p>
                      <a:r>
                        <a:rPr lang="en-US" sz="1200" kern="1200">
                          <a:solidFill>
                            <a:schemeClr val="dk1"/>
                          </a:solidFill>
                          <a:highlight>
                            <a:srgbClr val="FFFF00"/>
                          </a:highlight>
                          <a:latin typeface="+mn-lt"/>
                          <a:ea typeface="+mn-ea"/>
                          <a:cs typeface="+mn-cs"/>
                        </a:rPr>
                        <a:t>[Add notes or additional context] </a:t>
                      </a:r>
                    </a:p>
                  </a:txBody>
                  <a:tcPr anchor="ctr"/>
                </a:tc>
                <a:extLst>
                  <a:ext uri="{0D108BD9-81ED-4DB2-BD59-A6C34878D82A}">
                    <a16:rowId xmlns:a16="http://schemas.microsoft.com/office/drawing/2014/main" val="3304232842"/>
                  </a:ext>
                </a:extLst>
              </a:tr>
              <a:tr h="374394">
                <a:tc>
                  <a:txBody>
                    <a:bodyPr/>
                    <a:lstStyle/>
                    <a:p>
                      <a:r>
                        <a:rPr lang="en-US" sz="1400"/>
                        <a:t>Domain 2 Student Progress</a:t>
                      </a:r>
                    </a:p>
                  </a:txBody>
                  <a:tcPr anchor="ctr"/>
                </a:tc>
                <a:tc>
                  <a:txBody>
                    <a:bodyPr/>
                    <a:lstStyle/>
                    <a:p>
                      <a:r>
                        <a:rPr lang="en-US" sz="140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highlight>
                            <a:srgbClr val="FFFF00"/>
                          </a:highlight>
                          <a:uLnTx/>
                          <a:uFillTx/>
                          <a:latin typeface="Calibri" panose="020F0502020204030204"/>
                          <a:ea typeface="+mn-ea"/>
                          <a:cs typeface="+mn-cs"/>
                        </a:rPr>
                        <a:t>[Add notes or additional context] </a:t>
                      </a:r>
                    </a:p>
                  </a:txBody>
                  <a:tcPr anchor="ctr"/>
                </a:tc>
                <a:extLst>
                  <a:ext uri="{0D108BD9-81ED-4DB2-BD59-A6C34878D82A}">
                    <a16:rowId xmlns:a16="http://schemas.microsoft.com/office/drawing/2014/main" val="4063796448"/>
                  </a:ext>
                </a:extLst>
              </a:tr>
              <a:tr h="462487">
                <a:tc>
                  <a:txBody>
                    <a:bodyPr/>
                    <a:lstStyle/>
                    <a:p>
                      <a:pPr marL="119063" indent="3175"/>
                      <a:r>
                        <a:rPr lang="en-US" sz="1400" i="0"/>
                        <a:t>Domain 2a Academic Growth</a:t>
                      </a:r>
                    </a:p>
                  </a:txBody>
                  <a:tcPr anchor="ctr"/>
                </a:tc>
                <a:tc>
                  <a:txBody>
                    <a:bodyPr/>
                    <a:lstStyle/>
                    <a:p>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highlight>
                            <a:srgbClr val="FFFF00"/>
                          </a:highlight>
                          <a:uLnTx/>
                          <a:uFillTx/>
                          <a:latin typeface="Calibri" panose="020F0502020204030204"/>
                          <a:ea typeface="+mn-ea"/>
                          <a:cs typeface="+mn-cs"/>
                        </a:rPr>
                        <a:t>[Add notes or additional context] </a:t>
                      </a:r>
                    </a:p>
                  </a:txBody>
                  <a:tcPr anchor="ctr"/>
                </a:tc>
                <a:extLst>
                  <a:ext uri="{0D108BD9-81ED-4DB2-BD59-A6C34878D82A}">
                    <a16:rowId xmlns:a16="http://schemas.microsoft.com/office/drawing/2014/main" val="1273416240"/>
                  </a:ext>
                </a:extLst>
              </a:tr>
              <a:tr h="374394">
                <a:tc>
                  <a:txBody>
                    <a:bodyPr/>
                    <a:lstStyle/>
                    <a:p>
                      <a:pPr marL="119063" indent="3175" algn="l" defTabSz="914400" rtl="0" eaLnBrk="1" latinLnBrk="0" hangingPunct="1"/>
                      <a:r>
                        <a:rPr lang="en-US" sz="1400" i="0" kern="1200">
                          <a:solidFill>
                            <a:schemeClr val="dk1"/>
                          </a:solidFill>
                          <a:latin typeface="+mn-lt"/>
                          <a:ea typeface="+mn-ea"/>
                          <a:cs typeface="+mn-cs"/>
                        </a:rPr>
                        <a:t>Domain 2b Relative Performance</a:t>
                      </a:r>
                    </a:p>
                  </a:txBody>
                  <a:tcPr anchor="ctr"/>
                </a:tc>
                <a:tc>
                  <a:txBody>
                    <a:bodyPr/>
                    <a:lstStyle/>
                    <a:p>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highlight>
                            <a:srgbClr val="FFFF00"/>
                          </a:highlight>
                          <a:uLnTx/>
                          <a:uFillTx/>
                          <a:latin typeface="Calibri" panose="020F0502020204030204"/>
                          <a:ea typeface="+mn-ea"/>
                          <a:cs typeface="+mn-cs"/>
                        </a:rPr>
                        <a:t>[Add notes or additional context] </a:t>
                      </a:r>
                    </a:p>
                  </a:txBody>
                  <a:tcPr anchor="ctr"/>
                </a:tc>
                <a:extLst>
                  <a:ext uri="{0D108BD9-81ED-4DB2-BD59-A6C34878D82A}">
                    <a16:rowId xmlns:a16="http://schemas.microsoft.com/office/drawing/2014/main" val="2572518059"/>
                  </a:ext>
                </a:extLst>
              </a:tr>
              <a:tr h="374394">
                <a:tc>
                  <a:txBody>
                    <a:bodyPr/>
                    <a:lstStyle/>
                    <a:p>
                      <a:r>
                        <a:rPr lang="en-US" sz="1400" i="0"/>
                        <a:t>Best of Domain 1 and Domain 2</a:t>
                      </a:r>
                    </a:p>
                  </a:txBody>
                  <a:tcPr anchor="ctr"/>
                </a:tc>
                <a:tc>
                  <a:txBody>
                    <a:bodyPr/>
                    <a:lstStyle/>
                    <a:p>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highlight>
                            <a:srgbClr val="FFFF00"/>
                          </a:highlight>
                          <a:uLnTx/>
                          <a:uFillTx/>
                          <a:latin typeface="Calibri" panose="020F0502020204030204"/>
                          <a:ea typeface="+mn-ea"/>
                          <a:cs typeface="+mn-cs"/>
                        </a:rPr>
                        <a:t>[Add notes or additional context] </a:t>
                      </a:r>
                    </a:p>
                  </a:txBody>
                  <a:tcPr anchor="ctr"/>
                </a:tc>
                <a:extLst>
                  <a:ext uri="{0D108BD9-81ED-4DB2-BD59-A6C34878D82A}">
                    <a16:rowId xmlns:a16="http://schemas.microsoft.com/office/drawing/2014/main" val="2029422566"/>
                  </a:ext>
                </a:extLst>
              </a:tr>
              <a:tr h="462487">
                <a:tc>
                  <a:txBody>
                    <a:bodyPr/>
                    <a:lstStyle/>
                    <a:p>
                      <a:r>
                        <a:rPr lang="en-US" sz="1400"/>
                        <a:t>Domain 3 Closing the Gaps</a:t>
                      </a:r>
                    </a:p>
                  </a:txBody>
                  <a:tcPr anchor="ctr"/>
                </a:tc>
                <a:tc>
                  <a:txBody>
                    <a:bodyPr/>
                    <a:lstStyle/>
                    <a:p>
                      <a:r>
                        <a:rPr lang="en-US" sz="140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highlight>
                            <a:srgbClr val="FFFF00"/>
                          </a:highlight>
                          <a:uLnTx/>
                          <a:uFillTx/>
                          <a:latin typeface="Calibri" panose="020F0502020204030204"/>
                          <a:ea typeface="+mn-ea"/>
                          <a:cs typeface="+mn-cs"/>
                        </a:rPr>
                        <a:t>[Add notes or additional context] </a:t>
                      </a:r>
                    </a:p>
                  </a:txBody>
                  <a:tcPr anchor="ctr"/>
                </a:tc>
                <a:extLst>
                  <a:ext uri="{0D108BD9-81ED-4DB2-BD59-A6C34878D82A}">
                    <a16:rowId xmlns:a16="http://schemas.microsoft.com/office/drawing/2014/main" val="319962496"/>
                  </a:ext>
                </a:extLst>
              </a:tr>
              <a:tr h="330348">
                <a:tc>
                  <a:txBody>
                    <a:bodyPr/>
                    <a:lstStyle/>
                    <a:p>
                      <a:r>
                        <a:rPr lang="en-US" sz="1400"/>
                        <a:t>Overall</a:t>
                      </a:r>
                    </a:p>
                  </a:txBody>
                  <a:tcPr anchor="ctr"/>
                </a:tc>
                <a:tc>
                  <a:txBody>
                    <a:bodyPr/>
                    <a:lstStyle/>
                    <a:p>
                      <a:r>
                        <a:rPr lang="en-US" sz="140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highlight>
                            <a:srgbClr val="FFFF00"/>
                          </a:highlight>
                          <a:uLnTx/>
                          <a:uFillTx/>
                          <a:latin typeface="Calibri" panose="020F0502020204030204"/>
                          <a:ea typeface="+mn-ea"/>
                          <a:cs typeface="+mn-cs"/>
                        </a:rPr>
                        <a:t>[Add notes or additional context] </a:t>
                      </a:r>
                    </a:p>
                  </a:txBody>
                  <a:tcPr anchor="ctr"/>
                </a:tc>
                <a:extLst>
                  <a:ext uri="{0D108BD9-81ED-4DB2-BD59-A6C34878D82A}">
                    <a16:rowId xmlns:a16="http://schemas.microsoft.com/office/drawing/2014/main" val="2804664255"/>
                  </a:ext>
                </a:extLst>
              </a:tr>
            </a:tbl>
          </a:graphicData>
        </a:graphic>
      </p:graphicFrame>
    </p:spTree>
    <p:extLst>
      <p:ext uri="{BB962C8B-B14F-4D97-AF65-F5344CB8AC3E}">
        <p14:creationId xmlns:p14="http://schemas.microsoft.com/office/powerpoint/2010/main" val="27898454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4C1A67C-4979-04BE-2581-ACB22A08A8E8}"/>
              </a:ext>
            </a:extLst>
          </p:cNvPr>
          <p:cNvGraphicFramePr>
            <a:graphicFrameLocks noChangeAspect="1"/>
          </p:cNvGraphicFramePr>
          <p:nvPr>
            <p:custDataLst>
              <p:tags r:id="rId1"/>
            </p:custDataLst>
            <p:extLst>
              <p:ext uri="{D42A27DB-BD31-4B8C-83A1-F6EECF244321}">
                <p14:modId xmlns:p14="http://schemas.microsoft.com/office/powerpoint/2010/main" val="2919543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74C1A67C-4979-04BE-2581-ACB22A08A8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D03A14E-0327-76B4-4D43-018EAFE80796}"/>
              </a:ext>
            </a:extLst>
          </p:cNvPr>
          <p:cNvSpPr>
            <a:spLocks noGrp="1"/>
          </p:cNvSpPr>
          <p:nvPr>
            <p:ph type="title"/>
          </p:nvPr>
        </p:nvSpPr>
        <p:spPr/>
        <p:txBody>
          <a:bodyPr vert="horz">
            <a:noAutofit/>
          </a:bodyPr>
          <a:lstStyle/>
          <a:p>
            <a:r>
              <a:rPr lang="en-US" sz="2800">
                <a:solidFill>
                  <a:schemeClr val="tx1"/>
                </a:solidFill>
                <a:highlight>
                  <a:srgbClr val="FFFF00"/>
                </a:highlight>
              </a:rPr>
              <a:t>[Customize] </a:t>
            </a:r>
            <a:r>
              <a:rPr lang="en-US" sz="2800"/>
              <a:t>2023 ratings for </a:t>
            </a:r>
            <a:r>
              <a:rPr lang="en-US" sz="2800">
                <a:solidFill>
                  <a:schemeClr val="tx1"/>
                </a:solidFill>
                <a:highlight>
                  <a:srgbClr val="FFFF00"/>
                </a:highlight>
              </a:rPr>
              <a:t>[campus B]</a:t>
            </a:r>
          </a:p>
        </p:txBody>
      </p:sp>
      <p:graphicFrame>
        <p:nvGraphicFramePr>
          <p:cNvPr id="6" name="Table 5">
            <a:extLst>
              <a:ext uri="{FF2B5EF4-FFF2-40B4-BE49-F238E27FC236}">
                <a16:creationId xmlns:a16="http://schemas.microsoft.com/office/drawing/2014/main" id="{21B5892B-214B-3921-AF1C-489AC63B2F5F}"/>
              </a:ext>
            </a:extLst>
          </p:cNvPr>
          <p:cNvGraphicFramePr>
            <a:graphicFrameLocks/>
          </p:cNvGraphicFramePr>
          <p:nvPr/>
        </p:nvGraphicFramePr>
        <p:xfrm>
          <a:off x="472092" y="1421476"/>
          <a:ext cx="11247815" cy="4393354"/>
        </p:xfrm>
        <a:graphic>
          <a:graphicData uri="http://schemas.openxmlformats.org/drawingml/2006/table">
            <a:tbl>
              <a:tblPr firstRow="1" bandRow="1">
                <a:tableStyleId>{5C22544A-7EE6-4342-B048-85BDC9FD1C3A}</a:tableStyleId>
              </a:tblPr>
              <a:tblGrid>
                <a:gridCol w="2265619">
                  <a:extLst>
                    <a:ext uri="{9D8B030D-6E8A-4147-A177-3AD203B41FA5}">
                      <a16:colId xmlns:a16="http://schemas.microsoft.com/office/drawing/2014/main" val="2460035832"/>
                    </a:ext>
                  </a:extLst>
                </a:gridCol>
                <a:gridCol w="1352508">
                  <a:extLst>
                    <a:ext uri="{9D8B030D-6E8A-4147-A177-3AD203B41FA5}">
                      <a16:colId xmlns:a16="http://schemas.microsoft.com/office/drawing/2014/main" val="270008210"/>
                    </a:ext>
                  </a:extLst>
                </a:gridCol>
                <a:gridCol w="1478135">
                  <a:extLst>
                    <a:ext uri="{9D8B030D-6E8A-4147-A177-3AD203B41FA5}">
                      <a16:colId xmlns:a16="http://schemas.microsoft.com/office/drawing/2014/main" val="3965508422"/>
                    </a:ext>
                  </a:extLst>
                </a:gridCol>
                <a:gridCol w="6151553">
                  <a:extLst>
                    <a:ext uri="{9D8B030D-6E8A-4147-A177-3AD203B41FA5}">
                      <a16:colId xmlns:a16="http://schemas.microsoft.com/office/drawing/2014/main" val="2432764043"/>
                    </a:ext>
                  </a:extLst>
                </a:gridCol>
              </a:tblGrid>
              <a:tr h="506533">
                <a:tc>
                  <a:txBody>
                    <a:bodyPr/>
                    <a:lstStyle/>
                    <a:p>
                      <a:endParaRPr lang="en-US" sz="160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2022 “What If” Sco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lt1"/>
                          </a:solidFill>
                          <a:latin typeface="+mn-lt"/>
                          <a:ea typeface="+mn-ea"/>
                          <a:cs typeface="+mn-cs"/>
                        </a:rPr>
                        <a:t>(2022 data &amp; 2023 methodology)</a:t>
                      </a:r>
                      <a:endParaRPr lang="en-US" sz="1600"/>
                    </a:p>
                  </a:txBody>
                  <a:tcPr anchor="ctr"/>
                </a:tc>
                <a:tc>
                  <a:txBody>
                    <a:bodyPr/>
                    <a:lstStyle/>
                    <a:p>
                      <a:r>
                        <a:rPr lang="en-US" sz="1600"/>
                        <a:t>2023 Score</a:t>
                      </a:r>
                      <a:endParaRPr lang="en-US" sz="1200" b="0" i="0"/>
                    </a:p>
                  </a:txBody>
                  <a:tcPr anchor="ctr"/>
                </a:tc>
                <a:tc>
                  <a:txBody>
                    <a:bodyPr/>
                    <a:lstStyle/>
                    <a:p>
                      <a:r>
                        <a:rPr lang="en-US" sz="1600"/>
                        <a:t>Notes</a:t>
                      </a:r>
                    </a:p>
                  </a:txBody>
                  <a:tcPr anchor="ctr"/>
                </a:tc>
                <a:extLst>
                  <a:ext uri="{0D108BD9-81ED-4DB2-BD59-A6C34878D82A}">
                    <a16:rowId xmlns:a16="http://schemas.microsoft.com/office/drawing/2014/main" val="2937890691"/>
                  </a:ext>
                </a:extLst>
              </a:tr>
              <a:tr h="726765">
                <a:tc>
                  <a:txBody>
                    <a:bodyPr/>
                    <a:lstStyle/>
                    <a:p>
                      <a:r>
                        <a:rPr lang="en-US" sz="1400"/>
                        <a:t>Domain 1 Student Achievement</a:t>
                      </a:r>
                    </a:p>
                  </a:txBody>
                  <a:tcPr anchor="ctr"/>
                </a:tc>
                <a:tc>
                  <a:txBody>
                    <a:bodyPr/>
                    <a:lstStyle/>
                    <a:p>
                      <a:r>
                        <a:rPr lang="en-US" sz="140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highlight>
                            <a:srgbClr val="FFFF00"/>
                          </a:highlight>
                        </a:rPr>
                        <a:t>[enter]</a:t>
                      </a:r>
                    </a:p>
                  </a:txBody>
                  <a:tcPr anchor="ctr"/>
                </a:tc>
                <a:tc>
                  <a:txBody>
                    <a:bodyPr/>
                    <a:lstStyle/>
                    <a:p>
                      <a:r>
                        <a:rPr lang="en-US" sz="1200" kern="1200">
                          <a:solidFill>
                            <a:schemeClr val="dk1"/>
                          </a:solidFill>
                          <a:highlight>
                            <a:srgbClr val="FFFF00"/>
                          </a:highlight>
                          <a:latin typeface="+mn-lt"/>
                          <a:ea typeface="+mn-ea"/>
                          <a:cs typeface="+mn-cs"/>
                        </a:rPr>
                        <a:t>[Add notes or additional context] </a:t>
                      </a:r>
                    </a:p>
                  </a:txBody>
                  <a:tcPr anchor="ctr"/>
                </a:tc>
                <a:extLst>
                  <a:ext uri="{0D108BD9-81ED-4DB2-BD59-A6C34878D82A}">
                    <a16:rowId xmlns:a16="http://schemas.microsoft.com/office/drawing/2014/main" val="3304232842"/>
                  </a:ext>
                </a:extLst>
              </a:tr>
              <a:tr h="374394">
                <a:tc>
                  <a:txBody>
                    <a:bodyPr/>
                    <a:lstStyle/>
                    <a:p>
                      <a:r>
                        <a:rPr lang="en-US" sz="1400"/>
                        <a:t>Domain 2 Student Progress</a:t>
                      </a:r>
                    </a:p>
                  </a:txBody>
                  <a:tcPr anchor="ctr"/>
                </a:tc>
                <a:tc>
                  <a:txBody>
                    <a:bodyPr/>
                    <a:lstStyle/>
                    <a:p>
                      <a:r>
                        <a:rPr lang="en-US" sz="140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highlight>
                            <a:srgbClr val="FFFF00"/>
                          </a:highlight>
                          <a:uLnTx/>
                          <a:uFillTx/>
                          <a:latin typeface="Calibri" panose="020F0502020204030204"/>
                          <a:ea typeface="+mn-ea"/>
                          <a:cs typeface="+mn-cs"/>
                        </a:rPr>
                        <a:t>[Add notes or additional context] </a:t>
                      </a:r>
                    </a:p>
                  </a:txBody>
                  <a:tcPr anchor="ctr"/>
                </a:tc>
                <a:extLst>
                  <a:ext uri="{0D108BD9-81ED-4DB2-BD59-A6C34878D82A}">
                    <a16:rowId xmlns:a16="http://schemas.microsoft.com/office/drawing/2014/main" val="4063796448"/>
                  </a:ext>
                </a:extLst>
              </a:tr>
              <a:tr h="462487">
                <a:tc>
                  <a:txBody>
                    <a:bodyPr/>
                    <a:lstStyle/>
                    <a:p>
                      <a:pPr marL="119063" indent="3175"/>
                      <a:r>
                        <a:rPr lang="en-US" sz="1400" i="0"/>
                        <a:t>Domain 2a Academic Growth</a:t>
                      </a:r>
                    </a:p>
                  </a:txBody>
                  <a:tcPr anchor="ctr"/>
                </a:tc>
                <a:tc>
                  <a:txBody>
                    <a:bodyPr/>
                    <a:lstStyle/>
                    <a:p>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highlight>
                            <a:srgbClr val="FFFF00"/>
                          </a:highlight>
                          <a:uLnTx/>
                          <a:uFillTx/>
                          <a:latin typeface="Calibri" panose="020F0502020204030204"/>
                          <a:ea typeface="+mn-ea"/>
                          <a:cs typeface="+mn-cs"/>
                        </a:rPr>
                        <a:t>[Add notes or additional context] </a:t>
                      </a:r>
                    </a:p>
                  </a:txBody>
                  <a:tcPr anchor="ctr"/>
                </a:tc>
                <a:extLst>
                  <a:ext uri="{0D108BD9-81ED-4DB2-BD59-A6C34878D82A}">
                    <a16:rowId xmlns:a16="http://schemas.microsoft.com/office/drawing/2014/main" val="1273416240"/>
                  </a:ext>
                </a:extLst>
              </a:tr>
              <a:tr h="374394">
                <a:tc>
                  <a:txBody>
                    <a:bodyPr/>
                    <a:lstStyle/>
                    <a:p>
                      <a:pPr marL="119063" indent="3175" algn="l" defTabSz="914400" rtl="0" eaLnBrk="1" latinLnBrk="0" hangingPunct="1"/>
                      <a:r>
                        <a:rPr lang="en-US" sz="1400" i="0" kern="1200">
                          <a:solidFill>
                            <a:schemeClr val="dk1"/>
                          </a:solidFill>
                          <a:latin typeface="+mn-lt"/>
                          <a:ea typeface="+mn-ea"/>
                          <a:cs typeface="+mn-cs"/>
                        </a:rPr>
                        <a:t>Domain 2b Relative Performance</a:t>
                      </a:r>
                    </a:p>
                  </a:txBody>
                  <a:tcPr anchor="ctr"/>
                </a:tc>
                <a:tc>
                  <a:txBody>
                    <a:bodyPr/>
                    <a:lstStyle/>
                    <a:p>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highlight>
                            <a:srgbClr val="FFFF00"/>
                          </a:highlight>
                          <a:uLnTx/>
                          <a:uFillTx/>
                          <a:latin typeface="Calibri" panose="020F0502020204030204"/>
                          <a:ea typeface="+mn-ea"/>
                          <a:cs typeface="+mn-cs"/>
                        </a:rPr>
                        <a:t>[Add notes or additional context] </a:t>
                      </a:r>
                    </a:p>
                  </a:txBody>
                  <a:tcPr anchor="ctr"/>
                </a:tc>
                <a:extLst>
                  <a:ext uri="{0D108BD9-81ED-4DB2-BD59-A6C34878D82A}">
                    <a16:rowId xmlns:a16="http://schemas.microsoft.com/office/drawing/2014/main" val="2572518059"/>
                  </a:ext>
                </a:extLst>
              </a:tr>
              <a:tr h="374394">
                <a:tc>
                  <a:txBody>
                    <a:bodyPr/>
                    <a:lstStyle/>
                    <a:p>
                      <a:r>
                        <a:rPr lang="en-US" sz="1400" i="0"/>
                        <a:t>Best of Domain 1 and Domain 2</a:t>
                      </a:r>
                    </a:p>
                  </a:txBody>
                  <a:tcPr anchor="ctr"/>
                </a:tc>
                <a:tc>
                  <a:txBody>
                    <a:bodyPr/>
                    <a:lstStyle/>
                    <a:p>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i="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highlight>
                            <a:srgbClr val="FFFF00"/>
                          </a:highlight>
                          <a:uLnTx/>
                          <a:uFillTx/>
                          <a:latin typeface="Calibri" panose="020F0502020204030204"/>
                          <a:ea typeface="+mn-ea"/>
                          <a:cs typeface="+mn-cs"/>
                        </a:rPr>
                        <a:t>[Add notes or additional context] </a:t>
                      </a:r>
                    </a:p>
                  </a:txBody>
                  <a:tcPr anchor="ctr"/>
                </a:tc>
                <a:extLst>
                  <a:ext uri="{0D108BD9-81ED-4DB2-BD59-A6C34878D82A}">
                    <a16:rowId xmlns:a16="http://schemas.microsoft.com/office/drawing/2014/main" val="2029422566"/>
                  </a:ext>
                </a:extLst>
              </a:tr>
              <a:tr h="462487">
                <a:tc>
                  <a:txBody>
                    <a:bodyPr/>
                    <a:lstStyle/>
                    <a:p>
                      <a:r>
                        <a:rPr lang="en-US" sz="1400"/>
                        <a:t>Domain 3 Closing the Gaps</a:t>
                      </a:r>
                    </a:p>
                  </a:txBody>
                  <a:tcPr anchor="ctr"/>
                </a:tc>
                <a:tc>
                  <a:txBody>
                    <a:bodyPr/>
                    <a:lstStyle/>
                    <a:p>
                      <a:r>
                        <a:rPr lang="en-US" sz="140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highlight>
                            <a:srgbClr val="FFFF00"/>
                          </a:highlight>
                          <a:uLnTx/>
                          <a:uFillTx/>
                          <a:latin typeface="Calibri" panose="020F0502020204030204"/>
                          <a:ea typeface="+mn-ea"/>
                          <a:cs typeface="+mn-cs"/>
                        </a:rPr>
                        <a:t>[Add notes or additional context] </a:t>
                      </a:r>
                    </a:p>
                  </a:txBody>
                  <a:tcPr anchor="ctr"/>
                </a:tc>
                <a:extLst>
                  <a:ext uri="{0D108BD9-81ED-4DB2-BD59-A6C34878D82A}">
                    <a16:rowId xmlns:a16="http://schemas.microsoft.com/office/drawing/2014/main" val="319962496"/>
                  </a:ext>
                </a:extLst>
              </a:tr>
              <a:tr h="330348">
                <a:tc>
                  <a:txBody>
                    <a:bodyPr/>
                    <a:lstStyle/>
                    <a:p>
                      <a:r>
                        <a:rPr lang="en-US" sz="1400"/>
                        <a:t>Overall</a:t>
                      </a:r>
                    </a:p>
                  </a:txBody>
                  <a:tcPr anchor="ctr"/>
                </a:tc>
                <a:tc>
                  <a:txBody>
                    <a:bodyPr/>
                    <a:lstStyle/>
                    <a:p>
                      <a:r>
                        <a:rPr lang="en-US" sz="140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highlight>
                            <a:srgbClr val="FFFF00"/>
                          </a:highlight>
                        </a:rPr>
                        <a:t>[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highlight>
                            <a:srgbClr val="FFFF00"/>
                          </a:highlight>
                          <a:uLnTx/>
                          <a:uFillTx/>
                          <a:latin typeface="Calibri" panose="020F0502020204030204"/>
                          <a:ea typeface="+mn-ea"/>
                          <a:cs typeface="+mn-cs"/>
                        </a:rPr>
                        <a:t>[Add notes or additional context] </a:t>
                      </a:r>
                    </a:p>
                  </a:txBody>
                  <a:tcPr anchor="ctr"/>
                </a:tc>
                <a:extLst>
                  <a:ext uri="{0D108BD9-81ED-4DB2-BD59-A6C34878D82A}">
                    <a16:rowId xmlns:a16="http://schemas.microsoft.com/office/drawing/2014/main" val="2804664255"/>
                  </a:ext>
                </a:extLst>
              </a:tr>
            </a:tbl>
          </a:graphicData>
        </a:graphic>
      </p:graphicFrame>
    </p:spTree>
    <p:extLst>
      <p:ext uri="{BB962C8B-B14F-4D97-AF65-F5344CB8AC3E}">
        <p14:creationId xmlns:p14="http://schemas.microsoft.com/office/powerpoint/2010/main" val="120066407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36C2791-7539-E027-873C-EE340204C8B2}"/>
              </a:ext>
            </a:extLst>
          </p:cNvPr>
          <p:cNvGraphicFramePr>
            <a:graphicFrameLocks noChangeAspect="1"/>
          </p:cNvGraphicFramePr>
          <p:nvPr>
            <p:custDataLst>
              <p:tags r:id="rId1"/>
            </p:custDataLst>
            <p:extLst>
              <p:ext uri="{D42A27DB-BD31-4B8C-83A1-F6EECF244321}">
                <p14:modId xmlns:p14="http://schemas.microsoft.com/office/powerpoint/2010/main" val="821671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Object 4" hidden="1">
                        <a:extLst>
                          <a:ext uri="{FF2B5EF4-FFF2-40B4-BE49-F238E27FC236}">
                            <a16:creationId xmlns:a16="http://schemas.microsoft.com/office/drawing/2014/main" id="{E36C2791-7539-E027-873C-EE340204C8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CE3F372-A6A6-8D43-F8E6-BFE5CAC6EE0D}"/>
              </a:ext>
            </a:extLst>
          </p:cNvPr>
          <p:cNvSpPr>
            <a:spLocks noGrp="1"/>
          </p:cNvSpPr>
          <p:nvPr>
            <p:ph type="ctrTitle"/>
          </p:nvPr>
        </p:nvSpPr>
        <p:spPr>
          <a:xfrm>
            <a:off x="2985961" y="149364"/>
            <a:ext cx="8647949" cy="1055322"/>
          </a:xfrm>
        </p:spPr>
        <p:txBody>
          <a:bodyPr vert="horz"/>
          <a:lstStyle/>
          <a:p>
            <a:r>
              <a:rPr lang="en-US" sz="3600">
                <a:highlight>
                  <a:srgbClr val="FFFF00"/>
                </a:highlight>
              </a:rPr>
              <a:t>[Customize] </a:t>
            </a:r>
            <a:r>
              <a:rPr lang="en-US" sz="3600"/>
              <a:t>2023 ratings in context</a:t>
            </a:r>
          </a:p>
        </p:txBody>
      </p:sp>
      <p:sp>
        <p:nvSpPr>
          <p:cNvPr id="4" name="TextBox 3">
            <a:extLst>
              <a:ext uri="{FF2B5EF4-FFF2-40B4-BE49-F238E27FC236}">
                <a16:creationId xmlns:a16="http://schemas.microsoft.com/office/drawing/2014/main" id="{C1A00173-746E-E74D-DC09-144CA7BD8361}"/>
              </a:ext>
            </a:extLst>
          </p:cNvPr>
          <p:cNvSpPr txBox="1"/>
          <p:nvPr/>
        </p:nvSpPr>
        <p:spPr>
          <a:xfrm>
            <a:off x="2985961" y="1876151"/>
            <a:ext cx="8821760" cy="1815882"/>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F16038"/>
              </a:buClr>
              <a:buSzTx/>
              <a:buFont typeface="Wingdings" pitchFamily="2" charset="2"/>
              <a:buChar char="§"/>
              <a:tabLst/>
              <a:defRPr/>
            </a:pPr>
            <a:r>
              <a:rPr lang="en-US" sz="2800" i="1">
                <a:solidFill>
                  <a:srgbClr val="0D6CB9"/>
                </a:solidFill>
                <a:highlight>
                  <a:srgbClr val="FFFF00"/>
                </a:highlight>
                <a:latin typeface="Calibri" panose="020F0502020204030204" pitchFamily="34" charset="0"/>
              </a:rPr>
              <a:t>[Placeholder slide] </a:t>
            </a:r>
            <a:r>
              <a:rPr lang="en-US" sz="2800" i="1">
                <a:solidFill>
                  <a:srgbClr val="0D6CB9"/>
                </a:solidFill>
                <a:latin typeface="Calibri" panose="020F0502020204030204" pitchFamily="34" charset="0"/>
              </a:rPr>
              <a:t>If desired, replace this with 2023 ratings of similar or nearby districts or </a:t>
            </a:r>
            <a:r>
              <a:rPr lang="en-US" sz="2800" b="0" i="1" u="none" strike="noStrike">
                <a:solidFill>
                  <a:srgbClr val="0D6CB9"/>
                </a:solidFill>
                <a:effectLst/>
                <a:latin typeface="Calibri" panose="020F0502020204030204" pitchFamily="34" charset="0"/>
              </a:rPr>
              <a:t>statewide summary information to be shared by TEA when ratings are released. </a:t>
            </a:r>
          </a:p>
        </p:txBody>
      </p:sp>
    </p:spTree>
    <p:extLst>
      <p:ext uri="{BB962C8B-B14F-4D97-AF65-F5344CB8AC3E}">
        <p14:creationId xmlns:p14="http://schemas.microsoft.com/office/powerpoint/2010/main" val="109282113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03A14E-0327-76B4-4D43-018EAFE80796}"/>
              </a:ext>
            </a:extLst>
          </p:cNvPr>
          <p:cNvSpPr>
            <a:spLocks noGrp="1"/>
          </p:cNvSpPr>
          <p:nvPr>
            <p:ph type="title"/>
          </p:nvPr>
        </p:nvSpPr>
        <p:spPr>
          <a:xfrm>
            <a:off x="285468" y="87851"/>
            <a:ext cx="10250362" cy="751350"/>
          </a:xfrm>
        </p:spPr>
        <p:txBody>
          <a:bodyPr>
            <a:noAutofit/>
          </a:bodyPr>
          <a:lstStyle/>
          <a:p>
            <a:r>
              <a:rPr lang="en-US" sz="2800" dirty="0"/>
              <a:t>TEA’s communications about 2023 ratings include the use of “What If” ratings to communicate growth</a:t>
            </a:r>
          </a:p>
        </p:txBody>
      </p:sp>
      <p:sp>
        <p:nvSpPr>
          <p:cNvPr id="4" name="Content Placeholder 3">
            <a:extLst>
              <a:ext uri="{FF2B5EF4-FFF2-40B4-BE49-F238E27FC236}">
                <a16:creationId xmlns:a16="http://schemas.microsoft.com/office/drawing/2014/main" id="{A6A4BA1F-9B5D-31C3-658C-C99E2CC564D2}"/>
              </a:ext>
            </a:extLst>
          </p:cNvPr>
          <p:cNvSpPr>
            <a:spLocks noGrp="1"/>
          </p:cNvSpPr>
          <p:nvPr>
            <p:ph idx="1"/>
          </p:nvPr>
        </p:nvSpPr>
        <p:spPr>
          <a:xfrm>
            <a:off x="563418" y="1496253"/>
            <a:ext cx="11266631" cy="3221662"/>
          </a:xfrm>
        </p:spPr>
        <p:txBody>
          <a:bodyPr lIns="91440" tIns="45720" rIns="91440" bIns="45720" anchor="t"/>
          <a:lstStyle/>
          <a:p>
            <a:r>
              <a:rPr lang="en-US" dirty="0"/>
              <a:t>TEA is providing comparisons of 2023 ratings to the “What If” version of 2022 ratings, rather than actual 2022 ratings:</a:t>
            </a:r>
          </a:p>
          <a:p>
            <a:pPr lvl="1"/>
            <a:r>
              <a:rPr lang="en-US" dirty="0"/>
              <a:t>In the TEA Press Release in November</a:t>
            </a:r>
          </a:p>
          <a:p>
            <a:pPr lvl="1"/>
            <a:r>
              <a:rPr lang="en-US" dirty="0"/>
              <a:t>In TEA Communications with members of the media</a:t>
            </a:r>
            <a:endParaRPr lang="en-US" dirty="0">
              <a:cs typeface="Calibri"/>
            </a:endParaRPr>
          </a:p>
          <a:p>
            <a:pPr lvl="1"/>
            <a:r>
              <a:rPr lang="en-US" dirty="0"/>
              <a:t>On </a:t>
            </a:r>
            <a:r>
              <a:rPr lang="en-US" u="sng" dirty="0"/>
              <a:t>TXschools.gov</a:t>
            </a:r>
            <a:r>
              <a:rPr lang="en-US" dirty="0"/>
              <a:t>, TEA shows 2023 ratings alongside 2022 “What If” ratings</a:t>
            </a:r>
            <a:endParaRPr lang="en-US" dirty="0">
              <a:cs typeface="Calibri"/>
            </a:endParaRPr>
          </a:p>
          <a:p>
            <a:pPr marL="0" indent="0">
              <a:buNone/>
            </a:pPr>
            <a:endParaRPr lang="en-US" sz="1200"/>
          </a:p>
          <a:p>
            <a:r>
              <a:rPr lang="en-US" dirty="0"/>
              <a:t>Downloadable statewide accountability ratings excel file also includes “What If” ratings.</a:t>
            </a:r>
            <a:endParaRPr lang="en-US" dirty="0">
              <a:cs typeface="Calibri"/>
            </a:endParaRPr>
          </a:p>
          <a:p>
            <a:pPr marL="0" indent="0">
              <a:buNone/>
            </a:pPr>
            <a:endParaRPr lang="en-US" sz="1200"/>
          </a:p>
        </p:txBody>
      </p:sp>
      <p:sp>
        <p:nvSpPr>
          <p:cNvPr id="5" name="TextBox 4">
            <a:extLst>
              <a:ext uri="{FF2B5EF4-FFF2-40B4-BE49-F238E27FC236}">
                <a16:creationId xmlns:a16="http://schemas.microsoft.com/office/drawing/2014/main" id="{699DF759-D890-3496-5582-B2B12F7F1241}"/>
              </a:ext>
            </a:extLst>
          </p:cNvPr>
          <p:cNvSpPr txBox="1"/>
          <p:nvPr/>
        </p:nvSpPr>
        <p:spPr>
          <a:xfrm>
            <a:off x="788782" y="5084794"/>
            <a:ext cx="10464800" cy="954107"/>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ea typeface="+mn-ea"/>
                <a:cs typeface="+mn-cs"/>
              </a:rPr>
              <a:t> </a:t>
            </a:r>
            <a:r>
              <a:rPr kumimoji="0" lang="en-US" sz="2800" b="0" i="0" u="none" strike="noStrike" kern="1200" cap="none" spc="0" normalizeH="0" baseline="0" noProof="0" dirty="0">
                <a:ln>
                  <a:noFill/>
                </a:ln>
                <a:solidFill>
                  <a:srgbClr val="0D6CB9"/>
                </a:solidFill>
                <a:effectLst/>
                <a:uLnTx/>
                <a:uFillTx/>
                <a:ea typeface="+mn-ea"/>
                <a:cs typeface="+mn-cs"/>
              </a:rPr>
              <a:t> </a:t>
            </a:r>
            <a:r>
              <a:rPr kumimoji="0" lang="en-US" sz="2800" b="1" i="0" u="sng" strike="noStrike" kern="1200" cap="none" spc="0" normalizeH="0" baseline="0" noProof="0" dirty="0">
                <a:ln>
                  <a:noFill/>
                </a:ln>
                <a:solidFill>
                  <a:srgbClr val="0D6CB9"/>
                </a:solidFill>
                <a:effectLst/>
                <a:uLnTx/>
                <a:uFillTx/>
                <a:ea typeface="+mn-ea"/>
                <a:cs typeface="+mn-cs"/>
              </a:rPr>
              <a:t>TXSchools.gov</a:t>
            </a:r>
            <a:r>
              <a:rPr kumimoji="0" lang="en-US" sz="2800" b="1" i="0" u="none" strike="noStrike" kern="1200" cap="none" spc="0" normalizeH="0" baseline="0" noProof="0" dirty="0">
                <a:ln>
                  <a:noFill/>
                </a:ln>
                <a:solidFill>
                  <a:srgbClr val="0D6CB9"/>
                </a:solidFill>
                <a:effectLst/>
                <a:uLnTx/>
                <a:uFillTx/>
                <a:ea typeface="+mn-ea"/>
                <a:cs typeface="+mn-cs"/>
              </a:rPr>
              <a:t> </a:t>
            </a:r>
            <a:r>
              <a:rPr lang="en-US" sz="2800" dirty="0">
                <a:solidFill>
                  <a:srgbClr val="0D6CB9"/>
                </a:solidFill>
              </a:rPr>
              <a:t>provides</a:t>
            </a:r>
            <a:r>
              <a:rPr kumimoji="0" lang="en-US" sz="2800" b="0" i="0" u="none" strike="noStrike" kern="1200" cap="none" spc="0" normalizeH="0" baseline="0" noProof="0" dirty="0">
                <a:ln>
                  <a:noFill/>
                </a:ln>
                <a:solidFill>
                  <a:srgbClr val="0D6CB9"/>
                </a:solidFill>
                <a:effectLst/>
                <a:uLnTx/>
                <a:uFillTx/>
                <a:ea typeface="+mn-ea"/>
                <a:cs typeface="+mn-cs"/>
              </a:rPr>
              <a:t> an </a:t>
            </a:r>
            <a:r>
              <a:rPr kumimoji="0" lang="en-US" sz="2800" b="1" i="0" u="none" strike="noStrike" kern="1200" cap="none" spc="0" normalizeH="0" baseline="0" noProof="0" dirty="0">
                <a:ln>
                  <a:noFill/>
                </a:ln>
                <a:solidFill>
                  <a:schemeClr val="accent2"/>
                </a:solidFill>
                <a:effectLst/>
                <a:uLnTx/>
                <a:uFillTx/>
                <a:ea typeface="+mn-ea"/>
                <a:cs typeface="+mn-cs"/>
              </a:rPr>
              <a:t>apples-to-apples comparison </a:t>
            </a:r>
            <a:r>
              <a:rPr kumimoji="0" lang="en-US" sz="2800" b="0" i="0" u="none" strike="noStrike" kern="1200" cap="none" spc="0" normalizeH="0" baseline="0" noProof="0" dirty="0">
                <a:ln>
                  <a:noFill/>
                </a:ln>
                <a:solidFill>
                  <a:srgbClr val="0D6CB9"/>
                </a:solidFill>
                <a:effectLst/>
                <a:uLnTx/>
                <a:uFillTx/>
                <a:ea typeface="+mn-ea"/>
                <a:cs typeface="+mn-cs"/>
              </a:rPr>
              <a:t>of ratings under the refreshed cut points &amp; methodology</a:t>
            </a:r>
            <a:r>
              <a:rPr lang="en-US" sz="2800" dirty="0">
                <a:solidFill>
                  <a:srgbClr val="0D6CB9"/>
                </a:solidFill>
              </a:rPr>
              <a:t>.</a:t>
            </a:r>
            <a:endParaRPr lang="en-US" sz="2800" b="0" i="0" u="none" strike="noStrike" kern="1200" cap="none" spc="0" normalizeH="0" baseline="0" noProof="0" dirty="0">
              <a:ln>
                <a:noFill/>
              </a:ln>
              <a:solidFill>
                <a:srgbClr val="000000"/>
              </a:solidFill>
              <a:effectLst/>
              <a:uLnTx/>
              <a:uFillTx/>
              <a:cs typeface="Calibri" panose="020F0502020204030204"/>
            </a:endParaRPr>
          </a:p>
        </p:txBody>
      </p:sp>
      <p:sp>
        <p:nvSpPr>
          <p:cNvPr id="3" name="Rectangle 2">
            <a:extLst>
              <a:ext uri="{FF2B5EF4-FFF2-40B4-BE49-F238E27FC236}">
                <a16:creationId xmlns:a16="http://schemas.microsoft.com/office/drawing/2014/main" id="{36D058A0-40AB-14DA-37AF-017BCB2C2B97}"/>
              </a:ext>
            </a:extLst>
          </p:cNvPr>
          <p:cNvSpPr/>
          <p:nvPr/>
        </p:nvSpPr>
        <p:spPr>
          <a:xfrm>
            <a:off x="788782" y="4969338"/>
            <a:ext cx="10614436" cy="1224951"/>
          </a:xfrm>
          <a:prstGeom prst="rect">
            <a:avLst/>
          </a:prstGeom>
          <a:noFill/>
          <a:ln w="19050">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288367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7459A51-0741-3271-D638-4A78E6C67B72}"/>
              </a:ext>
            </a:extLst>
          </p:cNvPr>
          <p:cNvSpPr/>
          <p:nvPr/>
        </p:nvSpPr>
        <p:spPr>
          <a:xfrm rot="16200000">
            <a:off x="153214" y="5762344"/>
            <a:ext cx="1309518" cy="303910"/>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dirty="0">
                <a:solidFill>
                  <a:schemeClr val="tx1">
                    <a:lumMod val="85000"/>
                    <a:lumOff val="15000"/>
                  </a:schemeClr>
                </a:solidFill>
                <a:latin typeface="+mj-lt"/>
              </a:rPr>
              <a:t>NOVEMBER</a:t>
            </a:r>
            <a:endParaRPr lang="en-US" dirty="0">
              <a:solidFill>
                <a:schemeClr val="tx1">
                  <a:lumMod val="85000"/>
                  <a:lumOff val="15000"/>
                </a:schemeClr>
              </a:solidFill>
            </a:endParaRPr>
          </a:p>
        </p:txBody>
      </p:sp>
      <p:graphicFrame>
        <p:nvGraphicFramePr>
          <p:cNvPr id="12" name="Object 11" hidden="1">
            <a:extLst>
              <a:ext uri="{FF2B5EF4-FFF2-40B4-BE49-F238E27FC236}">
                <a16:creationId xmlns:a16="http://schemas.microsoft.com/office/drawing/2014/main" id="{A5925A1D-EB25-0B5E-55C8-E57D07E1A6B8}"/>
              </a:ext>
            </a:extLst>
          </p:cNvPr>
          <p:cNvGraphicFramePr>
            <a:graphicFrameLocks noChangeAspect="1"/>
          </p:cNvGraphicFramePr>
          <p:nvPr>
            <p:custDataLst>
              <p:tags r:id="rId1"/>
            </p:custDataLst>
            <p:extLst>
              <p:ext uri="{D42A27DB-BD31-4B8C-83A1-F6EECF244321}">
                <p14:modId xmlns:p14="http://schemas.microsoft.com/office/powerpoint/2010/main" val="1703414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2" name="Object 11" hidden="1">
                        <a:extLst>
                          <a:ext uri="{FF2B5EF4-FFF2-40B4-BE49-F238E27FC236}">
                            <a16:creationId xmlns:a16="http://schemas.microsoft.com/office/drawing/2014/main" id="{A5925A1D-EB25-0B5E-55C8-E57D07E1A6B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CE3F372-A6A6-8D43-F8E6-BFE5CAC6EE0D}"/>
              </a:ext>
            </a:extLst>
          </p:cNvPr>
          <p:cNvSpPr>
            <a:spLocks noGrp="1"/>
          </p:cNvSpPr>
          <p:nvPr>
            <p:ph type="title"/>
          </p:nvPr>
        </p:nvSpPr>
        <p:spPr/>
        <p:txBody>
          <a:bodyPr vert="horz"/>
          <a:lstStyle/>
          <a:p>
            <a:r>
              <a:rPr lang="en-US">
                <a:highlight>
                  <a:srgbClr val="FFFF00"/>
                </a:highlight>
              </a:rPr>
              <a:t>[Template] </a:t>
            </a:r>
            <a:r>
              <a:rPr lang="en-US" sz="3600"/>
              <a:t>2023 A-F Communications Timeline</a:t>
            </a:r>
          </a:p>
        </p:txBody>
      </p:sp>
      <p:cxnSp>
        <p:nvCxnSpPr>
          <p:cNvPr id="5" name="Straight Arrow Connector 4">
            <a:extLst>
              <a:ext uri="{FF2B5EF4-FFF2-40B4-BE49-F238E27FC236}">
                <a16:creationId xmlns:a16="http://schemas.microsoft.com/office/drawing/2014/main" id="{3C526C1D-0D46-6557-2913-5350F9EBF0DD}"/>
              </a:ext>
            </a:extLst>
          </p:cNvPr>
          <p:cNvCxnSpPr>
            <a:cxnSpLocks/>
          </p:cNvCxnSpPr>
          <p:nvPr/>
        </p:nvCxnSpPr>
        <p:spPr>
          <a:xfrm>
            <a:off x="1099127" y="1302327"/>
            <a:ext cx="0" cy="5320147"/>
          </a:xfrm>
          <a:prstGeom prst="straightConnector1">
            <a:avLst/>
          </a:prstGeom>
          <a:ln w="155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C1A00173-746E-E74D-DC09-144CA7BD8361}"/>
              </a:ext>
            </a:extLst>
          </p:cNvPr>
          <p:cNvSpPr txBox="1"/>
          <p:nvPr/>
        </p:nvSpPr>
        <p:spPr>
          <a:xfrm>
            <a:off x="951353" y="1439612"/>
            <a:ext cx="9586167" cy="4661469"/>
          </a:xfrm>
          <a:prstGeom prst="rect">
            <a:avLst/>
          </a:prstGeom>
          <a:noFill/>
        </p:spPr>
        <p:txBody>
          <a:bodyPr wrap="square" lIns="91440" tIns="45720" rIns="91440" bIns="45720" rtlCol="0" anchor="t">
            <a:spAutoFit/>
          </a:bodyPr>
          <a:lstStyle/>
          <a:p>
            <a:pPr marL="342900" indent="-342900">
              <a:lnSpc>
                <a:spcPct val="107000"/>
              </a:lnSpc>
              <a:spcAft>
                <a:spcPts val="800"/>
              </a:spcAft>
              <a:buClr>
                <a:schemeClr val="bg1"/>
              </a:buClr>
              <a:buFont typeface="Courier New" panose="02070309020205020404" pitchFamily="49" charset="0"/>
              <a:buChar char="o"/>
              <a:tabLst>
                <a:tab pos="457200" algn="l"/>
              </a:tabLst>
              <a:defRPr/>
            </a:pPr>
            <a:r>
              <a:rPr kumimoji="0" lang="en-US" sz="1800" b="1" i="0" u="none" strike="noStrike" kern="100" cap="none" spc="0" normalizeH="0" baseline="0" noProof="0" dirty="0">
                <a:ln>
                  <a:noFill/>
                </a:ln>
                <a:solidFill>
                  <a:srgbClr val="0D6CB9"/>
                </a:solidFill>
                <a:effectLst/>
                <a:uLnTx/>
                <a:uFillTx/>
                <a:latin typeface="Calibri"/>
                <a:ea typeface="Calibri" panose="020F0502020204030204" pitchFamily="34" charset="0"/>
                <a:cs typeface="Times New Roman"/>
              </a:rPr>
              <a:t>May 31:</a:t>
            </a:r>
            <a:r>
              <a:rPr kumimoji="0" lang="en-US" sz="1800" b="0" i="0" u="none" strike="noStrike" kern="100" cap="none" spc="0" normalizeH="0" baseline="0" noProof="0" dirty="0">
                <a:ln>
                  <a:noFill/>
                </a:ln>
                <a:solidFill>
                  <a:srgbClr val="0D6CB9"/>
                </a:solidFill>
                <a:effectLst/>
                <a:uLnTx/>
                <a:uFillTx/>
                <a:latin typeface="Calibri"/>
                <a:ea typeface="Calibri" panose="020F0502020204030204" pitchFamily="34" charset="0"/>
                <a:cs typeface="Times New Roman"/>
              </a:rPr>
              <a:t> Preliminary “What If” ratings / communications resources released to districts</a:t>
            </a:r>
            <a:r>
              <a:rPr lang="en-US" kern="100" dirty="0">
                <a:solidFill>
                  <a:srgbClr val="0D6CB9"/>
                </a:solidFill>
                <a:latin typeface="Calibri"/>
                <a:ea typeface="Calibri" panose="020F0502020204030204" pitchFamily="34" charset="0"/>
                <a:cs typeface="Times New Roman"/>
              </a:rPr>
              <a:t> via TEAL</a:t>
            </a:r>
            <a:endParaRPr lang="en-US" sz="1800" b="0" i="0" u="none" strike="noStrike" kern="100" cap="none" spc="0" normalizeH="0" baseline="0" noProof="0" dirty="0">
              <a:ln>
                <a:noFill/>
              </a:ln>
              <a:solidFill>
                <a:srgbClr val="0D6CB9"/>
              </a:solidFill>
              <a:effectLst/>
              <a:uLnTx/>
              <a:uFillTx/>
              <a:latin typeface="Calibri"/>
              <a:ea typeface="Calibri" panose="020F0502020204030204" pitchFamily="34" charset="0"/>
              <a:cs typeface="Times New Roman" panose="02020603050405020304" pitchFamily="18" charset="0"/>
            </a:endParaRPr>
          </a:p>
          <a:p>
            <a:pPr marL="342900" indent="-342900">
              <a:lnSpc>
                <a:spcPct val="107000"/>
              </a:lnSpc>
              <a:spcAft>
                <a:spcPts val="800"/>
              </a:spcAft>
              <a:buClr>
                <a:schemeClr val="bg1"/>
              </a:buClr>
              <a:buFont typeface="Courier New" panose="02070309020205020404" pitchFamily="49" charset="0"/>
              <a:buChar char="o"/>
              <a:tabLst>
                <a:tab pos="457200" algn="l"/>
              </a:tabLst>
              <a:defRPr/>
            </a:pPr>
            <a:r>
              <a:rPr kumimoji="0" lang="en-US" sz="1800" b="1" i="0" u="none" strike="noStrike" kern="100" cap="none" spc="0" normalizeH="0" baseline="0" noProof="0" dirty="0">
                <a:ln>
                  <a:noFill/>
                </a:ln>
                <a:solidFill>
                  <a:srgbClr val="F16038"/>
                </a:solidFill>
                <a:effectLst/>
                <a:uLnTx/>
                <a:uFillTx/>
                <a:latin typeface="Calibri"/>
                <a:ea typeface="Calibri" panose="020F0502020204030204" pitchFamily="34" charset="0"/>
                <a:cs typeface="Times New Roman"/>
              </a:rPr>
              <a:t>May 31:</a:t>
            </a:r>
            <a:r>
              <a:rPr kumimoji="0" lang="en-US" sz="1800" b="0" i="0" u="none" strike="noStrike" kern="100" cap="none" spc="0" normalizeH="0" baseline="0" noProof="0" dirty="0">
                <a:ln>
                  <a:noFill/>
                </a:ln>
                <a:solidFill>
                  <a:srgbClr val="F16038"/>
                </a:solidFill>
                <a:effectLst/>
                <a:uLnTx/>
                <a:uFillTx/>
                <a:latin typeface="Calibri"/>
                <a:ea typeface="Calibri" panose="020F0502020204030204" pitchFamily="34" charset="0"/>
                <a:cs typeface="Times New Roman"/>
              </a:rPr>
              <a:t> EOC performance levels available to districts</a:t>
            </a:r>
            <a:r>
              <a:rPr lang="en-US" kern="100" dirty="0">
                <a:solidFill>
                  <a:srgbClr val="F16038"/>
                </a:solidFill>
                <a:latin typeface="Calibri"/>
                <a:ea typeface="Calibri" panose="020F0502020204030204" pitchFamily="34" charset="0"/>
                <a:cs typeface="Times New Roman"/>
              </a:rPr>
              <a:t> </a:t>
            </a:r>
            <a:endParaRPr lang="en-US" sz="1800" b="0" i="0" u="none" strike="noStrike" kern="100" cap="none" spc="0" normalizeH="0" baseline="0" noProof="0" dirty="0">
              <a:ln>
                <a:noFill/>
              </a:ln>
              <a:solidFill>
                <a:srgbClr val="F16038"/>
              </a:solidFill>
              <a:effectLst/>
              <a:uLnTx/>
              <a:uFillTx/>
              <a:latin typeface="Calibri"/>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800"/>
              </a:spcAft>
              <a:buClr>
                <a:schemeClr val="bg1"/>
              </a:buClr>
              <a:buSzTx/>
              <a:buFont typeface="Courier New" panose="02070309020205020404" pitchFamily="49" charset="0"/>
              <a:buChar char="o"/>
              <a:tabLst>
                <a:tab pos="457200" algn="l"/>
              </a:tabLst>
              <a:defRPr/>
            </a:pPr>
            <a:r>
              <a:rPr kumimoji="0" lang="en-US" sz="1800" b="1" i="0" u="none" strike="noStrike" kern="100" cap="none" spc="0" normalizeH="0" baseline="0" noProof="0" dirty="0">
                <a:ln>
                  <a:noFill/>
                </a:ln>
                <a:solidFill>
                  <a:srgbClr val="0D6CB9"/>
                </a:solidFill>
                <a:effectLst/>
                <a:uLnTx/>
                <a:uFillTx/>
                <a:latin typeface="Calibri"/>
                <a:ea typeface="Calibri" panose="020F0502020204030204" pitchFamily="34" charset="0"/>
                <a:cs typeface="Times New Roman"/>
              </a:rPr>
              <a:t>June 9:</a:t>
            </a:r>
            <a:r>
              <a:rPr kumimoji="0" lang="en-US" sz="1800" b="0" i="0" u="none" strike="noStrike" kern="100" cap="none" spc="0" normalizeH="0" baseline="0" noProof="0" dirty="0">
                <a:ln>
                  <a:noFill/>
                </a:ln>
                <a:solidFill>
                  <a:srgbClr val="0D6CB9"/>
                </a:solidFill>
                <a:effectLst/>
                <a:uLnTx/>
                <a:uFillTx/>
                <a:latin typeface="Calibri"/>
                <a:ea typeface="Calibri" panose="020F0502020204030204" pitchFamily="34" charset="0"/>
                <a:cs typeface="Times New Roman"/>
              </a:rPr>
              <a:t> </a:t>
            </a:r>
            <a:r>
              <a:rPr kumimoji="0" lang="en-US" sz="1800" b="0" i="1" u="none" strike="noStrike" kern="100" cap="none" spc="0" normalizeH="0" baseline="0" noProof="0" dirty="0">
                <a:ln>
                  <a:noFill/>
                </a:ln>
                <a:solidFill>
                  <a:srgbClr val="0D6CB9"/>
                </a:solidFill>
                <a:effectLst/>
                <a:uLnTx/>
                <a:uFillTx/>
                <a:latin typeface="Calibri"/>
                <a:ea typeface="Calibri" panose="020F0502020204030204" pitchFamily="34" charset="0"/>
                <a:cs typeface="Times New Roman"/>
              </a:rPr>
              <a:t>A–F </a:t>
            </a:r>
            <a:r>
              <a:rPr kumimoji="0" lang="en-US" sz="1800" b="0" i="0" u="none" strike="noStrike" kern="100" cap="none" spc="0" normalizeH="0" baseline="0" noProof="0" dirty="0">
                <a:ln>
                  <a:noFill/>
                </a:ln>
                <a:solidFill>
                  <a:srgbClr val="0D6CB9"/>
                </a:solidFill>
                <a:effectLst/>
                <a:uLnTx/>
                <a:uFillTx/>
                <a:latin typeface="Calibri"/>
                <a:ea typeface="Calibri" panose="020F0502020204030204" pitchFamily="34" charset="0"/>
                <a:cs typeface="Times New Roman"/>
              </a:rPr>
              <a:t>Estimator released to districts</a:t>
            </a:r>
            <a:endParaRPr lang="en-US" sz="1800" b="0" i="0" u="none" strike="noStrike" kern="100" cap="none" spc="0" normalizeH="0" baseline="0" noProof="0" dirty="0">
              <a:ln>
                <a:noFill/>
              </a:ln>
              <a:solidFill>
                <a:srgbClr val="0D6CB9"/>
              </a:solidFill>
              <a:effectLst/>
              <a:uLnTx/>
              <a:uFillTx/>
              <a:latin typeface="Calibri"/>
              <a:ea typeface="Calibri" panose="020F0502020204030204" pitchFamily="34" charset="0"/>
              <a:cs typeface="Times New Roman"/>
            </a:endParaRPr>
          </a:p>
          <a:p>
            <a:pPr marL="342900" indent="-342900">
              <a:lnSpc>
                <a:spcPct val="107000"/>
              </a:lnSpc>
              <a:spcAft>
                <a:spcPts val="800"/>
              </a:spcAft>
              <a:buClr>
                <a:schemeClr val="bg1"/>
              </a:buClr>
              <a:buFont typeface="Courier New" panose="02070309020205020404" pitchFamily="49" charset="0"/>
              <a:buChar char="o"/>
              <a:tabLst>
                <a:tab pos="457200" algn="l"/>
              </a:tabLst>
              <a:defRPr/>
            </a:pPr>
            <a:r>
              <a:rPr kumimoji="0" lang="en-US" sz="1800" b="1" i="0" u="none" strike="noStrike" kern="100" cap="none" spc="0" normalizeH="0" baseline="0" noProof="0" dirty="0">
                <a:ln>
                  <a:noFill/>
                </a:ln>
                <a:solidFill>
                  <a:srgbClr val="0D6CB9"/>
                </a:solidFill>
                <a:effectLst/>
                <a:uLnTx/>
                <a:uFillTx/>
                <a:latin typeface="Calibri"/>
                <a:ea typeface="Calibri" panose="020F0502020204030204" pitchFamily="34" charset="0"/>
                <a:cs typeface="Times New Roman"/>
              </a:rPr>
              <a:t>June 20</a:t>
            </a:r>
            <a:r>
              <a:rPr kumimoji="0" lang="en-US" sz="1800" b="0" i="0" u="none" strike="noStrike" kern="100" cap="none" spc="0" normalizeH="0" baseline="0" noProof="0" dirty="0">
                <a:ln>
                  <a:noFill/>
                </a:ln>
                <a:solidFill>
                  <a:srgbClr val="0D6CB9"/>
                </a:solidFill>
                <a:effectLst/>
                <a:uLnTx/>
                <a:uFillTx/>
                <a:latin typeface="Calibri"/>
                <a:ea typeface="Calibri" panose="020F0502020204030204" pitchFamily="34" charset="0"/>
                <a:cs typeface="Times New Roman"/>
              </a:rPr>
              <a:t>: </a:t>
            </a:r>
            <a:r>
              <a:rPr kumimoji="0" lang="en-US" sz="1800" b="0" i="1" u="none" strike="noStrike" kern="100" cap="none" spc="0" normalizeH="0" baseline="0" noProof="0" dirty="0">
                <a:ln>
                  <a:noFill/>
                </a:ln>
                <a:solidFill>
                  <a:srgbClr val="0D6CB9"/>
                </a:solidFill>
                <a:effectLst/>
                <a:uLnTx/>
                <a:uFillTx/>
                <a:latin typeface="Calibri"/>
                <a:ea typeface="Calibri" panose="020F0502020204030204" pitchFamily="34" charset="0"/>
                <a:cs typeface="Times New Roman"/>
              </a:rPr>
              <a:t>2023 Accountability Manual</a:t>
            </a:r>
            <a:r>
              <a:rPr kumimoji="0" lang="en-US" sz="1800" b="0" i="0" u="none" strike="noStrike" kern="100" cap="none" spc="0" normalizeH="0" baseline="0" noProof="0" dirty="0">
                <a:ln>
                  <a:noFill/>
                </a:ln>
                <a:solidFill>
                  <a:srgbClr val="0D6CB9"/>
                </a:solidFill>
                <a:effectLst/>
                <a:uLnTx/>
                <a:uFillTx/>
                <a:latin typeface="Calibri"/>
                <a:ea typeface="Calibri" panose="020F0502020204030204" pitchFamily="34" charset="0"/>
                <a:cs typeface="Times New Roman"/>
              </a:rPr>
              <a:t> public comment period closes</a:t>
            </a:r>
            <a:r>
              <a:rPr lang="en-US" kern="100" dirty="0">
                <a:solidFill>
                  <a:srgbClr val="0D6CB9"/>
                </a:solidFill>
                <a:latin typeface="Calibri"/>
                <a:ea typeface="Calibri" panose="020F0502020204030204" pitchFamily="34" charset="0"/>
                <a:cs typeface="Times New Roman"/>
              </a:rPr>
              <a:t> </a:t>
            </a:r>
            <a:endParaRPr lang="en-US" sz="1800" b="0" i="0" u="none" strike="noStrike" kern="100" cap="none" spc="0" normalizeH="0" baseline="0" noProof="0" dirty="0">
              <a:ln>
                <a:noFill/>
              </a:ln>
              <a:solidFill>
                <a:srgbClr val="0D6CB9"/>
              </a:solidFill>
              <a:effectLst/>
              <a:uLnTx/>
              <a:uFillTx/>
              <a:latin typeface="Calibri"/>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800"/>
              </a:spcAft>
              <a:buClr>
                <a:schemeClr val="bg1"/>
              </a:buClr>
              <a:buSzTx/>
              <a:buFont typeface="Courier New" panose="02070309020205020404" pitchFamily="49" charset="0"/>
              <a:buChar char="o"/>
              <a:tabLst>
                <a:tab pos="457200" algn="l"/>
              </a:tabLst>
              <a:defRPr/>
            </a:pPr>
            <a:r>
              <a:rPr kumimoji="0" lang="en-US" sz="1800" b="1" i="0" u="none" strike="noStrike" kern="100" cap="none" spc="0" normalizeH="0" baseline="0" noProof="0" dirty="0">
                <a:ln>
                  <a:noFill/>
                </a:ln>
                <a:solidFill>
                  <a:srgbClr val="F16038"/>
                </a:solidFill>
                <a:effectLst/>
                <a:uLnTx/>
                <a:uFillTx/>
                <a:latin typeface="Calibri"/>
                <a:ea typeface="Calibri" panose="020F0502020204030204" pitchFamily="34" charset="0"/>
                <a:cs typeface="Times New Roman"/>
              </a:rPr>
              <a:t>June 30:</a:t>
            </a:r>
            <a:r>
              <a:rPr kumimoji="0" lang="en-US" sz="1800" b="0" i="0" u="none" strike="noStrike" kern="100" cap="none" spc="0" normalizeH="0" baseline="0" noProof="0" dirty="0">
                <a:ln>
                  <a:noFill/>
                </a:ln>
                <a:solidFill>
                  <a:srgbClr val="F16038"/>
                </a:solidFill>
                <a:effectLst/>
                <a:uLnTx/>
                <a:uFillTx/>
                <a:latin typeface="Calibri"/>
                <a:ea typeface="Calibri" panose="020F0502020204030204" pitchFamily="34" charset="0"/>
                <a:cs typeface="Times New Roman"/>
              </a:rPr>
              <a:t> EOC results published in Family and Analytic Portals</a:t>
            </a:r>
            <a:endParaRPr lang="en-US" sz="1800" b="0" i="0" u="none" strike="noStrike" kern="100" cap="none" spc="0" normalizeH="0" baseline="0" noProof="0" dirty="0">
              <a:ln>
                <a:noFill/>
              </a:ln>
              <a:solidFill>
                <a:srgbClr val="F16038"/>
              </a:solidFill>
              <a:effectLst/>
              <a:uLnTx/>
              <a:uFillTx/>
              <a:latin typeface="Calibri"/>
              <a:ea typeface="Calibri" panose="020F0502020204030204" pitchFamily="34" charset="0"/>
              <a:cs typeface="Times New Roman"/>
            </a:endParaRPr>
          </a:p>
          <a:p>
            <a:pPr marL="342900" marR="0" lvl="0" indent="-342900" algn="l" defTabSz="914400" rtl="0" eaLnBrk="1" fontAlgn="auto" latinLnBrk="0" hangingPunct="1">
              <a:lnSpc>
                <a:spcPct val="107000"/>
              </a:lnSpc>
              <a:spcBef>
                <a:spcPts val="0"/>
              </a:spcBef>
              <a:spcAft>
                <a:spcPts val="800"/>
              </a:spcAft>
              <a:buClr>
                <a:schemeClr val="bg1"/>
              </a:buClr>
              <a:buSzTx/>
              <a:buFont typeface="Courier New" panose="02070309020205020404" pitchFamily="49" charset="0"/>
              <a:buChar char="o"/>
              <a:tabLst>
                <a:tab pos="457200" algn="l"/>
              </a:tabLst>
              <a:defRPr/>
            </a:pPr>
            <a:r>
              <a:rPr kumimoji="0" lang="en-US" sz="1800" b="1" i="0" u="none" strike="noStrike" kern="100" cap="none" spc="0" normalizeH="0" baseline="0" noProof="0" dirty="0">
                <a:ln>
                  <a:noFill/>
                </a:ln>
                <a:solidFill>
                  <a:srgbClr val="F16038"/>
                </a:solidFill>
                <a:effectLst/>
                <a:uLnTx/>
                <a:uFillTx/>
                <a:latin typeface="Calibri"/>
                <a:ea typeface="Calibri" panose="020F0502020204030204" pitchFamily="34" charset="0"/>
                <a:cs typeface="Times New Roman"/>
              </a:rPr>
              <a:t>August 11:</a:t>
            </a:r>
            <a:r>
              <a:rPr kumimoji="0" lang="en-US" sz="1800" b="0" i="0" u="none" strike="noStrike" kern="100" cap="none" spc="0" normalizeH="0" baseline="0" noProof="0" dirty="0">
                <a:ln>
                  <a:noFill/>
                </a:ln>
                <a:solidFill>
                  <a:srgbClr val="F16038"/>
                </a:solidFill>
                <a:effectLst/>
                <a:uLnTx/>
                <a:uFillTx/>
                <a:latin typeface="Calibri"/>
                <a:ea typeface="Calibri" panose="020F0502020204030204" pitchFamily="34" charset="0"/>
                <a:cs typeface="Times New Roman"/>
              </a:rPr>
              <a:t> STAAR 3-8 performance levels available to districts</a:t>
            </a:r>
            <a:endParaRPr lang="en-US" sz="1800" b="0" i="0" u="none" strike="noStrike" kern="100" cap="none" spc="0" normalizeH="0" baseline="0" noProof="0" dirty="0">
              <a:ln>
                <a:noFill/>
              </a:ln>
              <a:solidFill>
                <a:srgbClr val="F16038"/>
              </a:solidFill>
              <a:effectLst/>
              <a:uLnTx/>
              <a:uFillTx/>
              <a:latin typeface="Calibri"/>
              <a:ea typeface="Calibri" panose="020F0502020204030204" pitchFamily="34" charset="0"/>
              <a:cs typeface="Times New Roman"/>
            </a:endParaRPr>
          </a:p>
          <a:p>
            <a:pPr marL="342900" marR="0" lvl="0" indent="-342900" algn="l" defTabSz="914400" rtl="0" eaLnBrk="1" fontAlgn="auto" latinLnBrk="0" hangingPunct="1">
              <a:lnSpc>
                <a:spcPct val="107000"/>
              </a:lnSpc>
              <a:spcBef>
                <a:spcPts val="0"/>
              </a:spcBef>
              <a:spcAft>
                <a:spcPts val="800"/>
              </a:spcAft>
              <a:buClr>
                <a:schemeClr val="bg1"/>
              </a:buClr>
              <a:buSzTx/>
              <a:buFont typeface="Courier New" panose="02070309020205020404" pitchFamily="49" charset="0"/>
              <a:buChar char="o"/>
              <a:tabLst>
                <a:tab pos="457200" algn="l"/>
              </a:tabLst>
              <a:defRPr/>
            </a:pPr>
            <a:r>
              <a:rPr kumimoji="0" lang="en-US" sz="1800" b="1" i="0" u="none" strike="noStrike" kern="100" cap="none" spc="0" normalizeH="0" baseline="0" noProof="0" dirty="0">
                <a:ln>
                  <a:noFill/>
                </a:ln>
                <a:solidFill>
                  <a:srgbClr val="F16038"/>
                </a:solidFill>
                <a:effectLst/>
                <a:uLnTx/>
                <a:uFillTx/>
                <a:latin typeface="Calibri"/>
                <a:ea typeface="Calibri" panose="020F0502020204030204" pitchFamily="34" charset="0"/>
                <a:cs typeface="Times New Roman"/>
              </a:rPr>
              <a:t>August 16:</a:t>
            </a:r>
            <a:r>
              <a:rPr kumimoji="0" lang="en-US" sz="1800" b="0" i="0" u="none" strike="noStrike" kern="100" cap="none" spc="0" normalizeH="0" baseline="0" noProof="0" dirty="0">
                <a:ln>
                  <a:noFill/>
                </a:ln>
                <a:solidFill>
                  <a:srgbClr val="F16038"/>
                </a:solidFill>
                <a:effectLst/>
                <a:uLnTx/>
                <a:uFillTx/>
                <a:latin typeface="Calibri"/>
                <a:ea typeface="Calibri" panose="020F0502020204030204" pitchFamily="34" charset="0"/>
                <a:cs typeface="Times New Roman"/>
              </a:rPr>
              <a:t> STAAR 3-8 assessment results published in Family and Analytic Portals</a:t>
            </a:r>
            <a:endParaRPr lang="en-US" sz="1800" b="0" i="0" u="none" strike="noStrike" kern="100" cap="none" spc="0" normalizeH="0" baseline="0" noProof="0" dirty="0">
              <a:ln>
                <a:noFill/>
              </a:ln>
              <a:solidFill>
                <a:srgbClr val="F16038"/>
              </a:solidFill>
              <a:effectLst/>
              <a:uLnTx/>
              <a:uFillTx/>
              <a:latin typeface="Calibri"/>
              <a:ea typeface="Calibri" panose="020F0502020204030204" pitchFamily="34" charset="0"/>
              <a:cs typeface="Times New Roman"/>
            </a:endParaRPr>
          </a:p>
          <a:p>
            <a:pPr marL="342900" indent="-342900">
              <a:lnSpc>
                <a:spcPct val="107000"/>
              </a:lnSpc>
              <a:spcAft>
                <a:spcPts val="800"/>
              </a:spcAft>
              <a:buClr>
                <a:schemeClr val="bg1"/>
              </a:buClr>
              <a:buFont typeface="Courier New" panose="02070309020205020404" pitchFamily="49" charset="0"/>
              <a:buChar char="o"/>
              <a:tabLst>
                <a:tab pos="457200" algn="l"/>
              </a:tabLst>
              <a:defRPr/>
            </a:pPr>
            <a:r>
              <a:rPr lang="en-US" b="1" kern="100" dirty="0">
                <a:solidFill>
                  <a:srgbClr val="0D6CB9"/>
                </a:solidFill>
                <a:latin typeface="Calibri"/>
                <a:ea typeface="Calibri" panose="020F0502020204030204" pitchFamily="34" charset="0"/>
                <a:cs typeface="Times New Roman"/>
              </a:rPr>
              <a:t>October 30</a:t>
            </a:r>
            <a:r>
              <a:rPr kumimoji="0" lang="en-US" sz="1800" b="1" i="0" u="none" strike="noStrike" kern="100" cap="none" spc="0" normalizeH="0" baseline="0" noProof="0" dirty="0">
                <a:ln>
                  <a:noFill/>
                </a:ln>
                <a:solidFill>
                  <a:srgbClr val="0D6CB9"/>
                </a:solidFill>
                <a:effectLst/>
                <a:uLnTx/>
                <a:uFillTx/>
                <a:latin typeface="Calibri"/>
                <a:ea typeface="Calibri" panose="020F0502020204030204" pitchFamily="34" charset="0"/>
                <a:cs typeface="Times New Roman"/>
              </a:rPr>
              <a:t>:</a:t>
            </a:r>
            <a:r>
              <a:rPr kumimoji="0" lang="en-US" sz="1800" b="0" i="0" u="none" strike="noStrike" kern="100" cap="none" spc="0" normalizeH="0" baseline="0" noProof="0" dirty="0">
                <a:ln>
                  <a:noFill/>
                </a:ln>
                <a:solidFill>
                  <a:srgbClr val="0D6CB9"/>
                </a:solidFill>
                <a:effectLst/>
                <a:uLnTx/>
                <a:uFillTx/>
                <a:latin typeface="Calibri"/>
                <a:ea typeface="Calibri" panose="020F0502020204030204" pitchFamily="34" charset="0"/>
                <a:cs typeface="Times New Roman"/>
              </a:rPr>
              <a:t> Final </a:t>
            </a:r>
            <a:r>
              <a:rPr kumimoji="0" lang="en-US" sz="1800" b="0" i="1" u="none" strike="noStrike" kern="100" cap="none" spc="0" normalizeH="0" baseline="0" noProof="0" dirty="0">
                <a:ln>
                  <a:noFill/>
                </a:ln>
                <a:solidFill>
                  <a:srgbClr val="0D6CB9"/>
                </a:solidFill>
                <a:effectLst/>
                <a:uLnTx/>
                <a:uFillTx/>
                <a:latin typeface="Calibri"/>
                <a:ea typeface="Calibri" panose="020F0502020204030204" pitchFamily="34" charset="0"/>
                <a:cs typeface="Times New Roman"/>
              </a:rPr>
              <a:t>2023 Accountability Manual</a:t>
            </a:r>
            <a:r>
              <a:rPr kumimoji="0" lang="en-US" sz="1800" b="0" i="0" u="none" strike="noStrike" kern="100" cap="none" spc="0" normalizeH="0" baseline="0" noProof="0" dirty="0">
                <a:ln>
                  <a:noFill/>
                </a:ln>
                <a:solidFill>
                  <a:srgbClr val="0D6CB9"/>
                </a:solidFill>
                <a:effectLst/>
                <a:uLnTx/>
                <a:uFillTx/>
                <a:latin typeface="Calibri"/>
                <a:ea typeface="Calibri" panose="020F0502020204030204" pitchFamily="34" charset="0"/>
                <a:cs typeface="Times New Roman"/>
              </a:rPr>
              <a:t> adopted into rule and appendices released</a:t>
            </a:r>
            <a:endParaRPr lang="en-US" sz="1800" b="0" i="0" u="none" strike="noStrike" kern="100" cap="none" spc="0" normalizeH="0" baseline="0" noProof="0" dirty="0">
              <a:ln>
                <a:noFill/>
              </a:ln>
              <a:solidFill>
                <a:srgbClr val="0D6CB9"/>
              </a:solidFill>
              <a:effectLst/>
              <a:uLnTx/>
              <a:uFillTx/>
              <a:latin typeface="Calibri"/>
              <a:ea typeface="Calibri" panose="020F0502020204030204" pitchFamily="34" charset="0"/>
              <a:cs typeface="Times New Roman"/>
            </a:endParaRPr>
          </a:p>
          <a:p>
            <a:pPr marL="342900" indent="-342900">
              <a:lnSpc>
                <a:spcPct val="107000"/>
              </a:lnSpc>
              <a:spcAft>
                <a:spcPts val="800"/>
              </a:spcAft>
              <a:buClr>
                <a:schemeClr val="bg1"/>
              </a:buClr>
              <a:buFont typeface="Courier New" panose="02070309020205020404" pitchFamily="49" charset="0"/>
              <a:buChar char="o"/>
              <a:tabLst>
                <a:tab pos="457200" algn="l"/>
              </a:tabLst>
              <a:defRPr/>
            </a:pPr>
            <a:r>
              <a:rPr lang="en-US" b="1" kern="100" dirty="0">
                <a:solidFill>
                  <a:srgbClr val="0D6CB9"/>
                </a:solidFill>
                <a:latin typeface="Calibri"/>
                <a:ea typeface="Calibri" panose="020F0502020204030204" pitchFamily="34" charset="0"/>
                <a:cs typeface="Times New Roman"/>
              </a:rPr>
              <a:t>October 30</a:t>
            </a:r>
            <a:r>
              <a:rPr kumimoji="0" lang="en-US" sz="1800" b="1" i="0" u="none" strike="noStrike" kern="100" cap="none" spc="0" normalizeH="0" baseline="0" noProof="0" dirty="0">
                <a:ln>
                  <a:noFill/>
                </a:ln>
                <a:solidFill>
                  <a:srgbClr val="0D6CB9"/>
                </a:solidFill>
                <a:effectLst/>
                <a:uLnTx/>
                <a:uFillTx/>
                <a:latin typeface="Calibri"/>
                <a:ea typeface="Calibri" panose="020F0502020204030204" pitchFamily="34" charset="0"/>
                <a:cs typeface="Times New Roman"/>
              </a:rPr>
              <a:t>:</a:t>
            </a:r>
            <a:r>
              <a:rPr kumimoji="0" lang="en-US" sz="1800" b="0" i="0" u="none" strike="noStrike" kern="100" cap="none" spc="0" normalizeH="0" baseline="0" noProof="0" dirty="0">
                <a:ln>
                  <a:noFill/>
                </a:ln>
                <a:solidFill>
                  <a:srgbClr val="0D6CB9"/>
                </a:solidFill>
                <a:effectLst/>
                <a:uLnTx/>
                <a:uFillTx/>
                <a:latin typeface="Calibri"/>
                <a:ea typeface="Calibri" panose="020F0502020204030204" pitchFamily="34" charset="0"/>
                <a:cs typeface="Times New Roman"/>
              </a:rPr>
              <a:t> 2023 </a:t>
            </a:r>
            <a:r>
              <a:rPr kumimoji="0" lang="en-US" sz="1800" b="0" i="1" u="none" strike="noStrike" kern="100" cap="none" spc="0" normalizeH="0" baseline="0" noProof="0" dirty="0">
                <a:ln>
                  <a:noFill/>
                </a:ln>
                <a:solidFill>
                  <a:srgbClr val="0D6CB9"/>
                </a:solidFill>
                <a:effectLst/>
                <a:uLnTx/>
                <a:uFillTx/>
                <a:latin typeface="Calibri"/>
                <a:ea typeface="Calibri" panose="020F0502020204030204" pitchFamily="34" charset="0"/>
                <a:cs typeface="Times New Roman"/>
              </a:rPr>
              <a:t>A–F</a:t>
            </a:r>
            <a:r>
              <a:rPr kumimoji="0" lang="en-US" sz="1800" b="0" i="0" u="none" strike="noStrike" kern="100" cap="none" spc="0" normalizeH="0" baseline="0" noProof="0" dirty="0">
                <a:ln>
                  <a:noFill/>
                </a:ln>
                <a:solidFill>
                  <a:srgbClr val="0D6CB9"/>
                </a:solidFill>
                <a:effectLst/>
                <a:uLnTx/>
                <a:uFillTx/>
                <a:latin typeface="Calibri"/>
                <a:ea typeface="Calibri" panose="020F0502020204030204" pitchFamily="34" charset="0"/>
                <a:cs typeface="Times New Roman"/>
              </a:rPr>
              <a:t> district communications toolkit (resources for communicating 2023 accountability ratings)</a:t>
            </a:r>
            <a:endParaRPr lang="en-US" sz="1800" b="0" i="0" u="none" strike="noStrike" kern="100" cap="none" spc="0" normalizeH="0" baseline="0" noProof="0" dirty="0">
              <a:ln>
                <a:noFill/>
              </a:ln>
              <a:solidFill>
                <a:srgbClr val="0D6CB9"/>
              </a:solidFill>
              <a:effectLst/>
              <a:uLnTx/>
              <a:uFillTx/>
              <a:latin typeface="Calibri"/>
              <a:ea typeface="Calibri" panose="020F0502020204030204" pitchFamily="34" charset="0"/>
              <a:cs typeface="Times New Roman"/>
            </a:endParaRPr>
          </a:p>
          <a:p>
            <a:pPr marL="342900" indent="-342900">
              <a:lnSpc>
                <a:spcPct val="107000"/>
              </a:lnSpc>
              <a:spcAft>
                <a:spcPts val="800"/>
              </a:spcAft>
              <a:buClr>
                <a:schemeClr val="bg1"/>
              </a:buClr>
              <a:buFont typeface="Courier New" panose="02070309020205020404" pitchFamily="49" charset="0"/>
              <a:buChar char="o"/>
              <a:tabLst>
                <a:tab pos="457200" algn="l"/>
              </a:tabLst>
              <a:defRPr/>
            </a:pPr>
            <a:r>
              <a:rPr lang="en-US" b="1" kern="100" dirty="0">
                <a:solidFill>
                  <a:srgbClr val="0D6CB9"/>
                </a:solidFill>
                <a:latin typeface="Calibri"/>
                <a:ea typeface="Calibri" panose="020F0502020204030204" pitchFamily="34" charset="0"/>
                <a:cs typeface="Times New Roman"/>
              </a:rPr>
              <a:t>November 14</a:t>
            </a:r>
            <a:r>
              <a:rPr kumimoji="0" lang="en-US" sz="1800" b="1" i="0" u="none" strike="noStrike" kern="100" cap="none" spc="0" normalizeH="0" baseline="0" noProof="0" dirty="0">
                <a:ln>
                  <a:noFill/>
                </a:ln>
                <a:solidFill>
                  <a:srgbClr val="0D6CB9"/>
                </a:solidFill>
                <a:effectLst/>
                <a:uLnTx/>
                <a:uFillTx/>
                <a:latin typeface="Calibri"/>
                <a:ea typeface="Calibri" panose="020F0502020204030204" pitchFamily="34" charset="0"/>
                <a:cs typeface="Times New Roman"/>
              </a:rPr>
              <a:t>:</a:t>
            </a:r>
            <a:r>
              <a:rPr kumimoji="0" lang="en-US" sz="1800" b="0" i="0" u="none" strike="noStrike" kern="100" cap="none" spc="0" normalizeH="0" baseline="0" noProof="0" dirty="0">
                <a:ln>
                  <a:noFill/>
                </a:ln>
                <a:solidFill>
                  <a:srgbClr val="0D6CB9"/>
                </a:solidFill>
                <a:effectLst/>
                <a:uLnTx/>
                <a:uFillTx/>
                <a:latin typeface="Calibri"/>
                <a:ea typeface="Calibri" panose="020F0502020204030204" pitchFamily="34" charset="0"/>
                <a:cs typeface="Times New Roman"/>
              </a:rPr>
              <a:t> 2023 </a:t>
            </a:r>
            <a:r>
              <a:rPr kumimoji="0" lang="en-US" sz="1800" b="0" i="1" u="none" strike="noStrike" kern="100" cap="none" spc="0" normalizeH="0" baseline="0" noProof="0" dirty="0">
                <a:ln>
                  <a:noFill/>
                </a:ln>
                <a:solidFill>
                  <a:srgbClr val="0D6CB9"/>
                </a:solidFill>
                <a:effectLst/>
                <a:uLnTx/>
                <a:uFillTx/>
                <a:latin typeface="Calibri"/>
                <a:ea typeface="Calibri" panose="020F0502020204030204" pitchFamily="34" charset="0"/>
                <a:cs typeface="Times New Roman"/>
              </a:rPr>
              <a:t>A–F</a:t>
            </a:r>
            <a:r>
              <a:rPr kumimoji="0" lang="en-US" sz="1800" b="0" i="0" u="none" strike="noStrike" kern="100" cap="none" spc="0" normalizeH="0" baseline="0" noProof="0" dirty="0">
                <a:ln>
                  <a:noFill/>
                </a:ln>
                <a:solidFill>
                  <a:srgbClr val="0D6CB9"/>
                </a:solidFill>
                <a:effectLst/>
                <a:uLnTx/>
                <a:uFillTx/>
                <a:latin typeface="Calibri"/>
                <a:ea typeface="Calibri" panose="020F0502020204030204" pitchFamily="34" charset="0"/>
                <a:cs typeface="Times New Roman"/>
              </a:rPr>
              <a:t> ratings released to districts via TEAL</a:t>
            </a:r>
            <a:endParaRPr lang="en-US" sz="1800" b="0" i="0" u="none" strike="noStrike" kern="100" cap="none" spc="0" normalizeH="0" baseline="0" noProof="0" dirty="0">
              <a:ln>
                <a:noFill/>
              </a:ln>
              <a:solidFill>
                <a:srgbClr val="0D6CB9"/>
              </a:solidFill>
              <a:effectLst/>
              <a:uLnTx/>
              <a:uFillTx/>
              <a:latin typeface="Calibri"/>
              <a:ea typeface="Calibri" panose="020F0502020204030204" pitchFamily="34" charset="0"/>
              <a:cs typeface="Times New Roman"/>
            </a:endParaRPr>
          </a:p>
          <a:p>
            <a:pPr marL="342900" indent="-342900">
              <a:lnSpc>
                <a:spcPct val="107000"/>
              </a:lnSpc>
              <a:spcAft>
                <a:spcPts val="800"/>
              </a:spcAft>
              <a:buClr>
                <a:schemeClr val="bg1"/>
              </a:buClr>
              <a:buFont typeface="Courier New" panose="02070309020205020404" pitchFamily="49" charset="0"/>
              <a:buChar char="o"/>
              <a:tabLst>
                <a:tab pos="457200" algn="l"/>
              </a:tabLst>
              <a:defRPr/>
            </a:pPr>
            <a:r>
              <a:rPr lang="en-US" b="1" kern="100" dirty="0">
                <a:solidFill>
                  <a:srgbClr val="0D6CB9"/>
                </a:solidFill>
                <a:latin typeface="Calibri"/>
                <a:ea typeface="Calibri" panose="020F0502020204030204" pitchFamily="34" charset="0"/>
                <a:cs typeface="Times New Roman"/>
              </a:rPr>
              <a:t>November 16</a:t>
            </a:r>
            <a:r>
              <a:rPr kumimoji="0" lang="en-US" sz="1800" b="1" i="0" u="none" strike="noStrike" kern="100" cap="none" spc="0" normalizeH="0" baseline="0" noProof="0" dirty="0">
                <a:ln>
                  <a:noFill/>
                </a:ln>
                <a:solidFill>
                  <a:srgbClr val="0D6CB9"/>
                </a:solidFill>
                <a:effectLst/>
                <a:uLnTx/>
                <a:uFillTx/>
                <a:latin typeface="Calibri"/>
                <a:ea typeface="Calibri" panose="020F0502020204030204" pitchFamily="34" charset="0"/>
                <a:cs typeface="Times New Roman"/>
              </a:rPr>
              <a:t>:</a:t>
            </a:r>
            <a:r>
              <a:rPr kumimoji="0" lang="en-US" sz="1800" b="0" i="0" u="none" strike="noStrike" kern="100" cap="none" spc="0" normalizeH="0" baseline="0" noProof="0" dirty="0">
                <a:ln>
                  <a:noFill/>
                </a:ln>
                <a:solidFill>
                  <a:srgbClr val="0D6CB9"/>
                </a:solidFill>
                <a:effectLst/>
                <a:uLnTx/>
                <a:uFillTx/>
                <a:latin typeface="Calibri"/>
                <a:ea typeface="Calibri" panose="020F0502020204030204" pitchFamily="34" charset="0"/>
                <a:cs typeface="Times New Roman"/>
              </a:rPr>
              <a:t> 2023 </a:t>
            </a:r>
            <a:r>
              <a:rPr kumimoji="0" lang="en-US" sz="1800" b="0" i="1" u="none" strike="noStrike" kern="100" cap="none" spc="0" normalizeH="0" baseline="0" noProof="0" dirty="0">
                <a:ln>
                  <a:noFill/>
                </a:ln>
                <a:solidFill>
                  <a:srgbClr val="0D6CB9"/>
                </a:solidFill>
                <a:effectLst/>
                <a:uLnTx/>
                <a:uFillTx/>
                <a:latin typeface="Calibri"/>
                <a:ea typeface="Calibri" panose="020F0502020204030204" pitchFamily="34" charset="0"/>
                <a:cs typeface="Times New Roman"/>
              </a:rPr>
              <a:t>A–F</a:t>
            </a:r>
            <a:r>
              <a:rPr kumimoji="0" lang="en-US" sz="1800" b="0" i="0" u="none" strike="noStrike" kern="100" cap="none" spc="0" normalizeH="0" baseline="0" noProof="0" dirty="0">
                <a:ln>
                  <a:noFill/>
                </a:ln>
                <a:solidFill>
                  <a:srgbClr val="0D6CB9"/>
                </a:solidFill>
                <a:effectLst/>
                <a:uLnTx/>
                <a:uFillTx/>
                <a:latin typeface="Calibri"/>
                <a:ea typeface="Calibri" panose="020F0502020204030204" pitchFamily="34" charset="0"/>
                <a:cs typeface="Times New Roman"/>
              </a:rPr>
              <a:t> ratings released publicly (e.g., press release, </a:t>
            </a:r>
            <a:r>
              <a:rPr kumimoji="0" lang="en-US" sz="1800" b="0" i="0" u="sng" strike="noStrike" kern="100" cap="none" spc="0" normalizeH="0" baseline="0" noProof="0" dirty="0">
                <a:ln>
                  <a:noFill/>
                </a:ln>
                <a:solidFill>
                  <a:srgbClr val="0D6CB9"/>
                </a:solidFill>
                <a:effectLst/>
                <a:uLnTx/>
                <a:uFillTx/>
                <a:latin typeface="Calibri"/>
                <a:ea typeface="Calibri" panose="020F0502020204030204" pitchFamily="34" charset="0"/>
                <a:cs typeface="Times New Roman"/>
              </a:rPr>
              <a:t>TXschools.gov</a:t>
            </a:r>
            <a:r>
              <a:rPr kumimoji="0" lang="en-US" sz="1800" b="0" i="0" u="none" strike="noStrike" kern="100" cap="none" spc="0" normalizeH="0" baseline="0" noProof="0" dirty="0">
                <a:ln>
                  <a:noFill/>
                </a:ln>
                <a:solidFill>
                  <a:srgbClr val="0D6CB9"/>
                </a:solidFill>
                <a:effectLst/>
                <a:uLnTx/>
                <a:uFillTx/>
                <a:latin typeface="Calibri"/>
                <a:ea typeface="Calibri" panose="020F0502020204030204" pitchFamily="34" charset="0"/>
                <a:cs typeface="Times New Roman"/>
              </a:rPr>
              <a:t>)</a:t>
            </a:r>
            <a:endParaRPr lang="en-US" sz="1800" b="0" i="0" u="none" strike="noStrike" kern="100" cap="none" spc="0" normalizeH="0" baseline="0" noProof="0" dirty="0">
              <a:ln>
                <a:noFill/>
              </a:ln>
              <a:solidFill>
                <a:srgbClr val="0D6CB9"/>
              </a:solidFill>
              <a:effectLst/>
              <a:uLnTx/>
              <a:uFillTx/>
              <a:latin typeface="Calibri"/>
              <a:ea typeface="Calibri" panose="020F0502020204030204" pitchFamily="34" charset="0"/>
              <a:cs typeface="Times New Roman"/>
            </a:endParaRPr>
          </a:p>
        </p:txBody>
      </p:sp>
      <p:sp>
        <p:nvSpPr>
          <p:cNvPr id="7" name="Rectangle 6">
            <a:extLst>
              <a:ext uri="{FF2B5EF4-FFF2-40B4-BE49-F238E27FC236}">
                <a16:creationId xmlns:a16="http://schemas.microsoft.com/office/drawing/2014/main" id="{B0AB0FB6-4FF6-545A-F8AC-1D785DDCD140}"/>
              </a:ext>
            </a:extLst>
          </p:cNvPr>
          <p:cNvSpPr/>
          <p:nvPr/>
        </p:nvSpPr>
        <p:spPr>
          <a:xfrm rot="16200000">
            <a:off x="456236" y="1695844"/>
            <a:ext cx="685435" cy="304800"/>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lumMod val="85000"/>
                    <a:lumOff val="15000"/>
                  </a:schemeClr>
                </a:solidFill>
                <a:latin typeface="+mj-lt"/>
              </a:rPr>
              <a:t>MAY</a:t>
            </a:r>
          </a:p>
        </p:txBody>
      </p:sp>
      <p:sp>
        <p:nvSpPr>
          <p:cNvPr id="8" name="Rectangle 7">
            <a:extLst>
              <a:ext uri="{FF2B5EF4-FFF2-40B4-BE49-F238E27FC236}">
                <a16:creationId xmlns:a16="http://schemas.microsoft.com/office/drawing/2014/main" id="{EBCE41F8-E5B5-DC7D-9B17-15236DC85FA9}"/>
              </a:ext>
            </a:extLst>
          </p:cNvPr>
          <p:cNvSpPr/>
          <p:nvPr/>
        </p:nvSpPr>
        <p:spPr>
          <a:xfrm rot="16200000">
            <a:off x="410985" y="2501909"/>
            <a:ext cx="785402" cy="295335"/>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lumMod val="85000"/>
                    <a:lumOff val="15000"/>
                  </a:schemeClr>
                </a:solidFill>
                <a:latin typeface="+mj-lt"/>
              </a:rPr>
              <a:t>JUNE</a:t>
            </a:r>
          </a:p>
        </p:txBody>
      </p:sp>
      <p:sp>
        <p:nvSpPr>
          <p:cNvPr id="9" name="Rectangle 8">
            <a:extLst>
              <a:ext uri="{FF2B5EF4-FFF2-40B4-BE49-F238E27FC236}">
                <a16:creationId xmlns:a16="http://schemas.microsoft.com/office/drawing/2014/main" id="{92AF312C-20E7-CE82-FC84-7A64BF559307}"/>
              </a:ext>
            </a:extLst>
          </p:cNvPr>
          <p:cNvSpPr/>
          <p:nvPr/>
        </p:nvSpPr>
        <p:spPr>
          <a:xfrm rot="16200000">
            <a:off x="306820" y="3447920"/>
            <a:ext cx="1003198" cy="304800"/>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lumMod val="85000"/>
                    <a:lumOff val="15000"/>
                  </a:schemeClr>
                </a:solidFill>
                <a:latin typeface="+mj-lt"/>
              </a:rPr>
              <a:t>AUGUST</a:t>
            </a:r>
          </a:p>
        </p:txBody>
      </p:sp>
      <p:sp>
        <p:nvSpPr>
          <p:cNvPr id="10" name="Rectangle 9">
            <a:extLst>
              <a:ext uri="{FF2B5EF4-FFF2-40B4-BE49-F238E27FC236}">
                <a16:creationId xmlns:a16="http://schemas.microsoft.com/office/drawing/2014/main" id="{B62CA142-05D9-69CD-4140-9C11BC4E2A41}"/>
              </a:ext>
            </a:extLst>
          </p:cNvPr>
          <p:cNvSpPr/>
          <p:nvPr/>
        </p:nvSpPr>
        <p:spPr>
          <a:xfrm rot="16200000">
            <a:off x="254971" y="4525393"/>
            <a:ext cx="1101272" cy="308641"/>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dirty="0">
                <a:solidFill>
                  <a:schemeClr val="tx1">
                    <a:lumMod val="85000"/>
                    <a:lumOff val="15000"/>
                  </a:schemeClr>
                </a:solidFill>
                <a:latin typeface="+mj-lt"/>
              </a:rPr>
              <a:t>OCTOBER</a:t>
            </a:r>
            <a:endParaRPr lang="en-US" dirty="0"/>
          </a:p>
        </p:txBody>
      </p:sp>
      <p:sp>
        <p:nvSpPr>
          <p:cNvPr id="2" name="TextBox 1">
            <a:extLst>
              <a:ext uri="{FF2B5EF4-FFF2-40B4-BE49-F238E27FC236}">
                <a16:creationId xmlns:a16="http://schemas.microsoft.com/office/drawing/2014/main" id="{A3B9E1CA-5FBD-5478-D302-416D1E0A1AA2}"/>
              </a:ext>
            </a:extLst>
          </p:cNvPr>
          <p:cNvSpPr txBox="1"/>
          <p:nvPr/>
        </p:nvSpPr>
        <p:spPr>
          <a:xfrm>
            <a:off x="8654998" y="6437808"/>
            <a:ext cx="3361764" cy="369332"/>
          </a:xfrm>
          <a:prstGeom prst="rect">
            <a:avLst/>
          </a:prstGeom>
          <a:noFill/>
        </p:spPr>
        <p:txBody>
          <a:bodyPr wrap="square" rtlCol="0">
            <a:spAutoFit/>
          </a:bodyPr>
          <a:lstStyle/>
          <a:p>
            <a:pPr algn="r"/>
            <a:r>
              <a:rPr lang="en-US">
                <a:solidFill>
                  <a:schemeClr val="accent2"/>
                </a:solidFill>
              </a:rPr>
              <a:t>STAAR</a:t>
            </a:r>
            <a:r>
              <a:rPr lang="en-US"/>
              <a:t>   |   </a:t>
            </a:r>
            <a:r>
              <a:rPr lang="en-US">
                <a:solidFill>
                  <a:schemeClr val="accent1"/>
                </a:solidFill>
              </a:rPr>
              <a:t>A-F</a:t>
            </a:r>
          </a:p>
        </p:txBody>
      </p:sp>
      <p:sp>
        <p:nvSpPr>
          <p:cNvPr id="11" name="TextBox 10">
            <a:extLst>
              <a:ext uri="{FF2B5EF4-FFF2-40B4-BE49-F238E27FC236}">
                <a16:creationId xmlns:a16="http://schemas.microsoft.com/office/drawing/2014/main" id="{AF67DC04-2838-14DC-8DC5-5FCCEFF9702D}"/>
              </a:ext>
            </a:extLst>
          </p:cNvPr>
          <p:cNvSpPr txBox="1"/>
          <p:nvPr/>
        </p:nvSpPr>
        <p:spPr>
          <a:xfrm>
            <a:off x="1472609" y="6142074"/>
            <a:ext cx="6504467"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a:p>
        </p:txBody>
      </p:sp>
      <p:sp>
        <p:nvSpPr>
          <p:cNvPr id="13" name="Speech Bubble: Rectangle 12">
            <a:extLst>
              <a:ext uri="{FF2B5EF4-FFF2-40B4-BE49-F238E27FC236}">
                <a16:creationId xmlns:a16="http://schemas.microsoft.com/office/drawing/2014/main" id="{1EDDD3C0-FB96-3102-1017-953197D516EA}"/>
              </a:ext>
            </a:extLst>
          </p:cNvPr>
          <p:cNvSpPr/>
          <p:nvPr/>
        </p:nvSpPr>
        <p:spPr>
          <a:xfrm>
            <a:off x="10285123" y="3632102"/>
            <a:ext cx="1790699" cy="2556732"/>
          </a:xfrm>
          <a:prstGeom prst="wedgeRectCallout">
            <a:avLst>
              <a:gd name="adj1" fmla="val -81547"/>
              <a:gd name="adj2" fmla="val 19100"/>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dirty="0">
                <a:ea typeface="+mn-lt"/>
                <a:cs typeface="+mn-lt"/>
              </a:rPr>
              <a:t>The issuance of A-F ratings under this final rule is pending and subject to change based on judicial rulings or decisions from the 88th Legislature during a special called session. </a:t>
            </a:r>
            <a:endParaRPr lang="en-US" sz="1400" b="1" dirty="0"/>
          </a:p>
        </p:txBody>
      </p:sp>
      <p:sp>
        <p:nvSpPr>
          <p:cNvPr id="14" name="TextBox 13">
            <a:extLst>
              <a:ext uri="{FF2B5EF4-FFF2-40B4-BE49-F238E27FC236}">
                <a16:creationId xmlns:a16="http://schemas.microsoft.com/office/drawing/2014/main" id="{E03794A2-5161-82F7-0179-EEE0FA220C55}"/>
              </a:ext>
            </a:extLst>
          </p:cNvPr>
          <p:cNvSpPr txBox="1"/>
          <p:nvPr/>
        </p:nvSpPr>
        <p:spPr>
          <a:xfrm>
            <a:off x="2713074" y="6009168"/>
            <a:ext cx="7917711"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kern="100" dirty="0">
                <a:solidFill>
                  <a:srgbClr val="0D6CB9"/>
                </a:solidFill>
                <a:latin typeface="Calibri"/>
                <a:cs typeface="Times New Roman"/>
              </a:rPr>
              <a:t>This slide template is designed to be used once 2023 ratings are available​</a:t>
            </a:r>
          </a:p>
        </p:txBody>
      </p:sp>
    </p:spTree>
    <p:extLst>
      <p:ext uri="{BB962C8B-B14F-4D97-AF65-F5344CB8AC3E}">
        <p14:creationId xmlns:p14="http://schemas.microsoft.com/office/powerpoint/2010/main" val="359608172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03A14E-0327-76B4-4D43-018EAFE80796}"/>
              </a:ext>
            </a:extLst>
          </p:cNvPr>
          <p:cNvSpPr>
            <a:spLocks noGrp="1"/>
          </p:cNvSpPr>
          <p:nvPr>
            <p:ph type="title"/>
          </p:nvPr>
        </p:nvSpPr>
        <p:spPr>
          <a:xfrm>
            <a:off x="294705" y="123949"/>
            <a:ext cx="10250362" cy="751350"/>
          </a:xfrm>
        </p:spPr>
        <p:txBody>
          <a:bodyPr>
            <a:noAutofit/>
          </a:bodyPr>
          <a:lstStyle/>
          <a:p>
            <a:r>
              <a:rPr lang="en-US" sz="2800" dirty="0"/>
              <a:t>TEA’s communications about 2023 ratings include the use of “What If” ratings to communicate growth</a:t>
            </a:r>
          </a:p>
        </p:txBody>
      </p:sp>
      <p:grpSp>
        <p:nvGrpSpPr>
          <p:cNvPr id="17" name="Group 16">
            <a:extLst>
              <a:ext uri="{FF2B5EF4-FFF2-40B4-BE49-F238E27FC236}">
                <a16:creationId xmlns:a16="http://schemas.microsoft.com/office/drawing/2014/main" id="{6FE1B847-BCEA-26E2-1A19-CAA398C19DE9}"/>
              </a:ext>
            </a:extLst>
          </p:cNvPr>
          <p:cNvGrpSpPr/>
          <p:nvPr/>
        </p:nvGrpSpPr>
        <p:grpSpPr>
          <a:xfrm>
            <a:off x="243552" y="3925920"/>
            <a:ext cx="3367866" cy="2090119"/>
            <a:chOff x="516025" y="2058327"/>
            <a:chExt cx="3367866" cy="2090119"/>
          </a:xfrm>
        </p:grpSpPr>
        <p:grpSp>
          <p:nvGrpSpPr>
            <p:cNvPr id="9" name="Group 8">
              <a:extLst>
                <a:ext uri="{FF2B5EF4-FFF2-40B4-BE49-F238E27FC236}">
                  <a16:creationId xmlns:a16="http://schemas.microsoft.com/office/drawing/2014/main" id="{0CC16D6B-A81A-F95C-DF67-0FDA18323B9D}"/>
                </a:ext>
              </a:extLst>
            </p:cNvPr>
            <p:cNvGrpSpPr/>
            <p:nvPr/>
          </p:nvGrpSpPr>
          <p:grpSpPr>
            <a:xfrm rot="912930">
              <a:off x="1842655" y="2107210"/>
              <a:ext cx="2041236" cy="2041236"/>
              <a:chOff x="1935019" y="2046221"/>
              <a:chExt cx="2041236" cy="2041236"/>
            </a:xfrm>
          </p:grpSpPr>
          <p:pic>
            <p:nvPicPr>
              <p:cNvPr id="15" name="Graphic 14" descr="Paper outline">
                <a:extLst>
                  <a:ext uri="{FF2B5EF4-FFF2-40B4-BE49-F238E27FC236}">
                    <a16:creationId xmlns:a16="http://schemas.microsoft.com/office/drawing/2014/main" id="{71607C42-9289-D25A-7E33-4208F30A855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935019" y="2046221"/>
                <a:ext cx="2041236" cy="2041236"/>
              </a:xfrm>
              <a:prstGeom prst="rect">
                <a:avLst/>
              </a:prstGeom>
            </p:spPr>
          </p:pic>
          <p:sp>
            <p:nvSpPr>
              <p:cNvPr id="16" name="TextBox 15">
                <a:extLst>
                  <a:ext uri="{FF2B5EF4-FFF2-40B4-BE49-F238E27FC236}">
                    <a16:creationId xmlns:a16="http://schemas.microsoft.com/office/drawing/2014/main" id="{DD3AB8AE-9BA7-4774-3EC8-5426E1CB4375}"/>
                  </a:ext>
                </a:extLst>
              </p:cNvPr>
              <p:cNvSpPr txBox="1"/>
              <p:nvPr/>
            </p:nvSpPr>
            <p:spPr>
              <a:xfrm>
                <a:off x="2286000" y="2823223"/>
                <a:ext cx="1339273" cy="646331"/>
              </a:xfrm>
              <a:prstGeom prst="rect">
                <a:avLst/>
              </a:prstGeom>
              <a:noFill/>
            </p:spPr>
            <p:txBody>
              <a:bodyPr wrap="square" rtlCol="0">
                <a:spAutoFit/>
              </a:bodyPr>
              <a:lstStyle/>
              <a:p>
                <a:pPr algn="ctr"/>
                <a:r>
                  <a:rPr lang="en-US">
                    <a:solidFill>
                      <a:schemeClr val="tx1">
                        <a:lumMod val="85000"/>
                        <a:lumOff val="15000"/>
                      </a:schemeClr>
                    </a:solidFill>
                    <a:latin typeface="+mj-lt"/>
                  </a:rPr>
                  <a:t>2023 RATING</a:t>
                </a:r>
              </a:p>
            </p:txBody>
          </p:sp>
        </p:grpSp>
        <p:grpSp>
          <p:nvGrpSpPr>
            <p:cNvPr id="10" name="Group 9">
              <a:extLst>
                <a:ext uri="{FF2B5EF4-FFF2-40B4-BE49-F238E27FC236}">
                  <a16:creationId xmlns:a16="http://schemas.microsoft.com/office/drawing/2014/main" id="{1E05236D-6FE4-302B-2620-61225BD94C54}"/>
                </a:ext>
              </a:extLst>
            </p:cNvPr>
            <p:cNvGrpSpPr/>
            <p:nvPr/>
          </p:nvGrpSpPr>
          <p:grpSpPr>
            <a:xfrm>
              <a:off x="516025" y="2058327"/>
              <a:ext cx="2041236" cy="2041236"/>
              <a:chOff x="608389" y="1997338"/>
              <a:chExt cx="2041236" cy="2041236"/>
            </a:xfrm>
          </p:grpSpPr>
          <p:sp>
            <p:nvSpPr>
              <p:cNvPr id="11" name="Rectangle 10">
                <a:extLst>
                  <a:ext uri="{FF2B5EF4-FFF2-40B4-BE49-F238E27FC236}">
                    <a16:creationId xmlns:a16="http://schemas.microsoft.com/office/drawing/2014/main" id="{414F24C6-039B-20F7-21A3-4461839A404D}"/>
                  </a:ext>
                </a:extLst>
              </p:cNvPr>
              <p:cNvSpPr/>
              <p:nvPr/>
            </p:nvSpPr>
            <p:spPr>
              <a:xfrm rot="20914552">
                <a:off x="788782" y="2161309"/>
                <a:ext cx="1491468" cy="17549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oup 11">
                <a:extLst>
                  <a:ext uri="{FF2B5EF4-FFF2-40B4-BE49-F238E27FC236}">
                    <a16:creationId xmlns:a16="http://schemas.microsoft.com/office/drawing/2014/main" id="{34C05F1C-5B2D-C75D-B8C6-818D9AEC33E4}"/>
                  </a:ext>
                </a:extLst>
              </p:cNvPr>
              <p:cNvGrpSpPr/>
              <p:nvPr/>
            </p:nvGrpSpPr>
            <p:grpSpPr>
              <a:xfrm rot="20915149">
                <a:off x="608389" y="1997338"/>
                <a:ext cx="2041236" cy="2041236"/>
                <a:chOff x="249424" y="2039044"/>
                <a:chExt cx="2041236" cy="2041236"/>
              </a:xfrm>
            </p:grpSpPr>
            <p:pic>
              <p:nvPicPr>
                <p:cNvPr id="13" name="Graphic 12" descr="Paper outline">
                  <a:extLst>
                    <a:ext uri="{FF2B5EF4-FFF2-40B4-BE49-F238E27FC236}">
                      <a16:creationId xmlns:a16="http://schemas.microsoft.com/office/drawing/2014/main" id="{A5FCB19A-6F4F-0FE8-8368-F92CB1EEE1C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49424" y="2039044"/>
                  <a:ext cx="2041236" cy="2041236"/>
                </a:xfrm>
                <a:prstGeom prst="rect">
                  <a:avLst/>
                </a:prstGeom>
              </p:spPr>
            </p:pic>
            <p:sp>
              <p:nvSpPr>
                <p:cNvPr id="14" name="TextBox 13">
                  <a:extLst>
                    <a:ext uri="{FF2B5EF4-FFF2-40B4-BE49-F238E27FC236}">
                      <a16:creationId xmlns:a16="http://schemas.microsoft.com/office/drawing/2014/main" id="{123A5F4C-D488-798D-C699-73FBAFAADF65}"/>
                    </a:ext>
                  </a:extLst>
                </p:cNvPr>
                <p:cNvSpPr txBox="1"/>
                <p:nvPr/>
              </p:nvSpPr>
              <p:spPr>
                <a:xfrm>
                  <a:off x="582206" y="2826643"/>
                  <a:ext cx="1339273" cy="646331"/>
                </a:xfrm>
                <a:prstGeom prst="rect">
                  <a:avLst/>
                </a:prstGeom>
                <a:noFill/>
              </p:spPr>
              <p:txBody>
                <a:bodyPr wrap="square" rtlCol="0">
                  <a:spAutoFit/>
                </a:bodyPr>
                <a:lstStyle/>
                <a:p>
                  <a:pPr algn="ctr"/>
                  <a:r>
                    <a:rPr lang="en-US">
                      <a:solidFill>
                        <a:schemeClr val="tx1">
                          <a:lumMod val="85000"/>
                          <a:lumOff val="15000"/>
                        </a:schemeClr>
                      </a:solidFill>
                      <a:latin typeface="+mj-lt"/>
                    </a:rPr>
                    <a:t>”WHAT IF” RATING</a:t>
                  </a:r>
                </a:p>
              </p:txBody>
            </p:sp>
          </p:grpSp>
        </p:grpSp>
      </p:grpSp>
      <p:sp>
        <p:nvSpPr>
          <p:cNvPr id="19" name="Rectangle 18">
            <a:extLst>
              <a:ext uri="{FF2B5EF4-FFF2-40B4-BE49-F238E27FC236}">
                <a16:creationId xmlns:a16="http://schemas.microsoft.com/office/drawing/2014/main" id="{BD1AACEC-09CD-D22E-D279-8063F5FED475}"/>
              </a:ext>
            </a:extLst>
          </p:cNvPr>
          <p:cNvSpPr/>
          <p:nvPr/>
        </p:nvSpPr>
        <p:spPr>
          <a:xfrm>
            <a:off x="1585932" y="5248444"/>
            <a:ext cx="628073" cy="302491"/>
          </a:xfrm>
          <a:prstGeom prst="rect">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lumMod val="85000"/>
                    <a:lumOff val="15000"/>
                  </a:schemeClr>
                </a:solidFill>
                <a:latin typeface="+mj-lt"/>
              </a:rPr>
              <a:t>AND</a:t>
            </a:r>
          </a:p>
        </p:txBody>
      </p:sp>
      <p:pic>
        <p:nvPicPr>
          <p:cNvPr id="3" name="Picture 2" descr="A screenshot of a survey&#10;&#10;Description automatically generated">
            <a:extLst>
              <a:ext uri="{FF2B5EF4-FFF2-40B4-BE49-F238E27FC236}">
                <a16:creationId xmlns:a16="http://schemas.microsoft.com/office/drawing/2014/main" id="{76644C88-F46A-2572-3DC0-7F244D2ECF1C}"/>
              </a:ext>
            </a:extLst>
          </p:cNvPr>
          <p:cNvPicPr>
            <a:picLocks noChangeAspect="1"/>
          </p:cNvPicPr>
          <p:nvPr/>
        </p:nvPicPr>
        <p:blipFill rotWithShape="1">
          <a:blip r:embed="rId6"/>
          <a:srcRect t="6652"/>
          <a:stretch/>
        </p:blipFill>
        <p:spPr>
          <a:xfrm>
            <a:off x="3636898" y="2803009"/>
            <a:ext cx="8290180" cy="3696527"/>
          </a:xfrm>
          <a:prstGeom prst="rect">
            <a:avLst/>
          </a:prstGeom>
          <a:effectLst>
            <a:outerShdw blurRad="292100" dist="38100" dir="2700000" algn="tl" rotWithShape="0">
              <a:prstClr val="black">
                <a:alpha val="65000"/>
              </a:prstClr>
            </a:outerShdw>
          </a:effectLst>
        </p:spPr>
      </p:pic>
      <p:pic>
        <p:nvPicPr>
          <p:cNvPr id="7" name="Picture 6">
            <a:extLst>
              <a:ext uri="{FF2B5EF4-FFF2-40B4-BE49-F238E27FC236}">
                <a16:creationId xmlns:a16="http://schemas.microsoft.com/office/drawing/2014/main" id="{4EF9BED1-42E5-B258-F1B4-D21A8B39E0DA}"/>
              </a:ext>
            </a:extLst>
          </p:cNvPr>
          <p:cNvPicPr>
            <a:picLocks noChangeAspect="1"/>
          </p:cNvPicPr>
          <p:nvPr/>
        </p:nvPicPr>
        <p:blipFill>
          <a:blip r:embed="rId7"/>
          <a:stretch>
            <a:fillRect/>
          </a:stretch>
        </p:blipFill>
        <p:spPr>
          <a:xfrm>
            <a:off x="219313" y="1492722"/>
            <a:ext cx="4424642" cy="218685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94448644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00B5FD-EAEA-E107-E092-367386FC2372}"/>
              </a:ext>
            </a:extLst>
          </p:cNvPr>
          <p:cNvSpPr>
            <a:spLocks noGrp="1"/>
          </p:cNvSpPr>
          <p:nvPr>
            <p:ph type="ctrTitle"/>
          </p:nvPr>
        </p:nvSpPr>
        <p:spPr/>
        <p:txBody>
          <a:bodyPr/>
          <a:lstStyle/>
          <a:p>
            <a:pPr algn="ctr"/>
            <a:r>
              <a:rPr lang="en-US"/>
              <a:t>Thank You</a:t>
            </a:r>
          </a:p>
        </p:txBody>
      </p:sp>
    </p:spTree>
    <p:extLst>
      <p:ext uri="{BB962C8B-B14F-4D97-AF65-F5344CB8AC3E}">
        <p14:creationId xmlns:p14="http://schemas.microsoft.com/office/powerpoint/2010/main" val="28603069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03A14E-0327-76B4-4D43-018EAFE80796}"/>
              </a:ext>
            </a:extLst>
          </p:cNvPr>
          <p:cNvSpPr>
            <a:spLocks noGrp="1"/>
          </p:cNvSpPr>
          <p:nvPr>
            <p:ph type="title"/>
          </p:nvPr>
        </p:nvSpPr>
        <p:spPr/>
        <p:txBody>
          <a:bodyPr/>
          <a:lstStyle/>
          <a:p>
            <a:r>
              <a:rPr lang="en-US"/>
              <a:t>Video Message from the Commissioner</a:t>
            </a:r>
          </a:p>
        </p:txBody>
      </p:sp>
      <p:sp>
        <p:nvSpPr>
          <p:cNvPr id="4" name="Content Placeholder 3">
            <a:extLst>
              <a:ext uri="{FF2B5EF4-FFF2-40B4-BE49-F238E27FC236}">
                <a16:creationId xmlns:a16="http://schemas.microsoft.com/office/drawing/2014/main" id="{A6A4BA1F-9B5D-31C3-658C-C99E2CC564D2}"/>
              </a:ext>
            </a:extLst>
          </p:cNvPr>
          <p:cNvSpPr>
            <a:spLocks noGrp="1"/>
          </p:cNvSpPr>
          <p:nvPr>
            <p:ph idx="1"/>
          </p:nvPr>
        </p:nvSpPr>
        <p:spPr/>
        <p:txBody>
          <a:bodyPr lIns="91440" tIns="45720" rIns="91440" bIns="45720" anchor="t"/>
          <a:lstStyle/>
          <a:p>
            <a:endParaRPr lang="en-US">
              <a:highlight>
                <a:srgbClr val="FFFF00"/>
              </a:highlight>
              <a:cs typeface="Calibri"/>
            </a:endParaRPr>
          </a:p>
          <a:p>
            <a:endParaRPr lang="en-US">
              <a:highlight>
                <a:srgbClr val="FFFF00"/>
              </a:highlight>
              <a:cs typeface="Calibri"/>
            </a:endParaRPr>
          </a:p>
        </p:txBody>
      </p:sp>
      <p:pic>
        <p:nvPicPr>
          <p:cNvPr id="5" name="Picture 5" descr="Logo, company name&#10;&#10;Description automatically generated">
            <a:hlinkClick r:id="rId2"/>
            <a:extLst>
              <a:ext uri="{FF2B5EF4-FFF2-40B4-BE49-F238E27FC236}">
                <a16:creationId xmlns:a16="http://schemas.microsoft.com/office/drawing/2014/main" id="{74ABEAFA-26A7-5813-F8E5-92ECD2885B0C}"/>
              </a:ext>
            </a:extLst>
          </p:cNvPr>
          <p:cNvPicPr>
            <a:picLocks noChangeAspect="1"/>
          </p:cNvPicPr>
          <p:nvPr/>
        </p:nvPicPr>
        <p:blipFill>
          <a:blip r:embed="rId3"/>
          <a:stretch>
            <a:fillRect/>
          </a:stretch>
        </p:blipFill>
        <p:spPr>
          <a:xfrm>
            <a:off x="2168323" y="1793478"/>
            <a:ext cx="7604566" cy="4254891"/>
          </a:xfrm>
          <a:prstGeom prst="rect">
            <a:avLst/>
          </a:prstGeom>
        </p:spPr>
      </p:pic>
    </p:spTree>
    <p:extLst>
      <p:ext uri="{BB962C8B-B14F-4D97-AF65-F5344CB8AC3E}">
        <p14:creationId xmlns:p14="http://schemas.microsoft.com/office/powerpoint/2010/main" val="5040448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CE3F372-A6A6-8D43-F8E6-BFE5CAC6EE0D}"/>
              </a:ext>
            </a:extLst>
          </p:cNvPr>
          <p:cNvSpPr>
            <a:spLocks noGrp="1"/>
          </p:cNvSpPr>
          <p:nvPr>
            <p:ph type="ctrTitle"/>
          </p:nvPr>
        </p:nvSpPr>
        <p:spPr/>
        <p:txBody>
          <a:bodyPr/>
          <a:lstStyle/>
          <a:p>
            <a:r>
              <a:rPr lang="en-US" sz="3600">
                <a:highlight>
                  <a:srgbClr val="FFFF00"/>
                </a:highlight>
              </a:rPr>
              <a:t>[Customize] </a:t>
            </a:r>
            <a:r>
              <a:rPr lang="en-US" sz="3600"/>
              <a:t>Additional </a:t>
            </a:r>
            <a:r>
              <a:rPr lang="en-US" sz="3600" i="1"/>
              <a:t>A–F</a:t>
            </a:r>
            <a:r>
              <a:rPr lang="en-US" sz="3600"/>
              <a:t> context to share</a:t>
            </a:r>
          </a:p>
        </p:txBody>
      </p:sp>
      <p:sp>
        <p:nvSpPr>
          <p:cNvPr id="4" name="TextBox 3">
            <a:extLst>
              <a:ext uri="{FF2B5EF4-FFF2-40B4-BE49-F238E27FC236}">
                <a16:creationId xmlns:a16="http://schemas.microsoft.com/office/drawing/2014/main" id="{C1A00173-746E-E74D-DC09-144CA7BD8361}"/>
              </a:ext>
            </a:extLst>
          </p:cNvPr>
          <p:cNvSpPr txBox="1"/>
          <p:nvPr/>
        </p:nvSpPr>
        <p:spPr>
          <a:xfrm>
            <a:off x="2899055" y="1339122"/>
            <a:ext cx="8821760" cy="3539430"/>
          </a:xfrm>
          <a:prstGeom prst="rect">
            <a:avLst/>
          </a:prstGeom>
          <a:noFill/>
        </p:spPr>
        <p:txBody>
          <a:bodyPr wrap="square" lIns="91440" tIns="45720" rIns="91440" bIns="45720" rtlCol="0" anchor="t">
            <a:spAutoFit/>
          </a:bodyPr>
          <a:lstStyle/>
          <a:p>
            <a:pPr marL="285750" indent="-285750">
              <a:buClr>
                <a:srgbClr val="F16038"/>
              </a:buClr>
              <a:buFont typeface="Wingdings" pitchFamily="2" charset="2"/>
              <a:buChar char="§"/>
              <a:defRPr/>
            </a:pPr>
            <a:r>
              <a:rPr kumimoji="0" lang="en-US" sz="2800" b="1" i="0" u="none" strike="noStrike" kern="1200" cap="none" spc="0" normalizeH="0" baseline="0" noProof="0">
                <a:ln>
                  <a:noFill/>
                </a:ln>
                <a:solidFill>
                  <a:srgbClr val="0D6CB9"/>
                </a:solidFill>
                <a:effectLst/>
                <a:uLnTx/>
                <a:uFillTx/>
                <a:latin typeface="Calibri" panose="020F0502020204030204"/>
                <a:ea typeface="+mn-ea"/>
                <a:cs typeface="+mn-cs"/>
              </a:rPr>
              <a:t>Supplemental </a:t>
            </a:r>
            <a:r>
              <a:rPr kumimoji="0" lang="en-US" sz="2800" b="1" i="1" u="none" strike="noStrike" kern="1200" cap="none" spc="0" normalizeH="0" baseline="0" noProof="0">
                <a:ln>
                  <a:noFill/>
                </a:ln>
                <a:solidFill>
                  <a:srgbClr val="0D6CB9"/>
                </a:solidFill>
                <a:effectLst/>
                <a:uLnTx/>
                <a:uFillTx/>
                <a:latin typeface="Calibri" panose="020F0502020204030204"/>
                <a:ea typeface="+mn-ea"/>
                <a:cs typeface="+mn-cs"/>
              </a:rPr>
              <a:t>A–F</a:t>
            </a:r>
            <a:r>
              <a:rPr lang="en-US" sz="2800" b="1">
                <a:solidFill>
                  <a:srgbClr val="0D6CB9"/>
                </a:solidFill>
                <a:latin typeface="Calibri" panose="020F0502020204030204"/>
              </a:rPr>
              <a:t> refresh slides</a:t>
            </a:r>
            <a:r>
              <a:rPr kumimoji="0" lang="en-US" sz="2800" b="1" i="0" u="none" strike="noStrike" kern="1200" cap="none" spc="0" normalizeH="0" baseline="0" noProof="0">
                <a:ln>
                  <a:noFill/>
                </a:ln>
                <a:solidFill>
                  <a:srgbClr val="0D6CB9"/>
                </a:solidFill>
                <a:effectLst/>
                <a:uLnTx/>
                <a:uFillTx/>
                <a:latin typeface="Calibri" panose="020F0502020204030204"/>
                <a:ea typeface="+mn-ea"/>
                <a:cs typeface="+mn-cs"/>
              </a:rPr>
              <a:t> include:</a:t>
            </a:r>
            <a:r>
              <a:rPr lang="en-US" sz="2800" b="1">
                <a:solidFill>
                  <a:srgbClr val="0D6CB9"/>
                </a:solidFill>
                <a:latin typeface="Calibri" panose="020F0502020204030204"/>
              </a:rPr>
              <a:t> </a:t>
            </a:r>
            <a:endParaRPr kumimoji="0" lang="en-US" sz="2800" b="1" i="0" u="none" strike="noStrike" kern="1200" cap="none" spc="0" normalizeH="0" baseline="0" noProof="0">
              <a:ln>
                <a:noFill/>
              </a:ln>
              <a:solidFill>
                <a:srgbClr val="0D6CB9"/>
              </a:solidFill>
              <a:effectLst/>
              <a:uLnTx/>
              <a:uFillTx/>
              <a:latin typeface="Calibri" panose="020F0502020204030204"/>
              <a:ea typeface="+mn-ea"/>
              <a:cs typeface="+mn-cs"/>
            </a:endParaRPr>
          </a:p>
          <a:p>
            <a:pPr marL="742950" lvl="1" indent="-285750">
              <a:buClr>
                <a:srgbClr val="F16038"/>
              </a:buClr>
              <a:buFont typeface="Wingdings" pitchFamily="2" charset="2"/>
              <a:buChar char="§"/>
            </a:pPr>
            <a:r>
              <a:rPr kumimoji="0" lang="en-US" sz="2800" b="0" i="0" u="none" strike="noStrike" kern="1200" cap="none" spc="0" normalizeH="0" baseline="0" noProof="0">
                <a:ln>
                  <a:noFill/>
                </a:ln>
                <a:solidFill>
                  <a:srgbClr val="0D6CB9"/>
                </a:solidFill>
                <a:effectLst/>
                <a:uLnTx/>
                <a:uFillTx/>
                <a:latin typeface="Calibri" panose="020F0502020204030204"/>
                <a:ea typeface="+mn-ea"/>
                <a:cs typeface="+mn-cs"/>
              </a:rPr>
              <a:t>Purpose of </a:t>
            </a:r>
            <a:r>
              <a:rPr lang="en-US" sz="2800" i="1">
                <a:solidFill>
                  <a:srgbClr val="0D6CB9"/>
                </a:solidFill>
                <a:latin typeface="Calibri" panose="020F0502020204030204"/>
              </a:rPr>
              <a:t>A–F</a:t>
            </a:r>
            <a:r>
              <a:rPr kumimoji="0" lang="en-US" sz="2800" b="0" i="0" u="none" strike="noStrike" kern="1200" cap="none" spc="0" normalizeH="0" baseline="0" noProof="0">
                <a:ln>
                  <a:noFill/>
                </a:ln>
                <a:solidFill>
                  <a:srgbClr val="0D6CB9"/>
                </a:solidFill>
                <a:effectLst/>
                <a:uLnTx/>
                <a:uFillTx/>
                <a:latin typeface="Calibri" panose="020F0502020204030204"/>
                <a:ea typeface="+mn-ea"/>
                <a:cs typeface="+mn-cs"/>
              </a:rPr>
              <a:t> Accountability System</a:t>
            </a:r>
            <a:endParaRPr lang="en-US" sz="2800" b="0" i="0" u="none" strike="noStrike" kern="1200" cap="none" spc="0" normalizeH="0" baseline="0" noProof="0">
              <a:ln>
                <a:noFill/>
              </a:ln>
              <a:solidFill>
                <a:srgbClr val="0D6CB9"/>
              </a:solidFill>
              <a:effectLst/>
              <a:uLnTx/>
              <a:uFillTx/>
              <a:latin typeface="Calibri" panose="020F0502020204030204"/>
              <a:cs typeface="Calibri"/>
            </a:endParaRPr>
          </a:p>
          <a:p>
            <a:pPr marL="742950" lvl="1" indent="-285750">
              <a:buClr>
                <a:srgbClr val="F16038"/>
              </a:buClr>
              <a:buFont typeface="Wingdings" pitchFamily="2" charset="2"/>
              <a:buChar char="§"/>
            </a:pPr>
            <a:r>
              <a:rPr lang="en-US" sz="2800" i="1">
                <a:solidFill>
                  <a:srgbClr val="0D6CB9"/>
                </a:solidFill>
                <a:latin typeface="Calibri" panose="020F0502020204030204"/>
              </a:rPr>
              <a:t>A–F </a:t>
            </a:r>
            <a:r>
              <a:rPr kumimoji="0" lang="en-US" sz="2800" b="0" i="0" u="none" strike="noStrike" kern="1200" cap="none" spc="0" normalizeH="0" baseline="0" noProof="0">
                <a:ln>
                  <a:noFill/>
                </a:ln>
                <a:solidFill>
                  <a:srgbClr val="0D6CB9"/>
                </a:solidFill>
                <a:effectLst/>
                <a:uLnTx/>
                <a:uFillTx/>
                <a:latin typeface="Calibri" panose="020F0502020204030204"/>
                <a:ea typeface="+mn-ea"/>
                <a:cs typeface="+mn-cs"/>
              </a:rPr>
              <a:t>Design Commitments that Remain Unchanged</a:t>
            </a:r>
            <a:endParaRPr lang="en-US" sz="2800" b="0" i="0" u="none" strike="noStrike" kern="1200" cap="none" spc="0" normalizeH="0" baseline="0" noProof="0">
              <a:ln>
                <a:noFill/>
              </a:ln>
              <a:solidFill>
                <a:srgbClr val="0D6CB9"/>
              </a:solidFill>
              <a:effectLst/>
              <a:uLnTx/>
              <a:uFillTx/>
              <a:latin typeface="Calibri" panose="020F0502020204030204"/>
              <a:cs typeface="Calibri"/>
            </a:endParaRPr>
          </a:p>
          <a:p>
            <a:pPr marL="742950" lvl="1" indent="-285750">
              <a:buClr>
                <a:srgbClr val="F16038"/>
              </a:buClr>
              <a:buFont typeface="Wingdings" pitchFamily="2" charset="2"/>
              <a:buChar char="§"/>
            </a:pPr>
            <a:r>
              <a:rPr lang="en-US" sz="2800" i="1">
                <a:solidFill>
                  <a:srgbClr val="0D6CB9"/>
                </a:solidFill>
                <a:latin typeface="Calibri" panose="020F0502020204030204"/>
              </a:rPr>
              <a:t>A–F</a:t>
            </a:r>
            <a:r>
              <a:rPr lang="en-US" sz="2800">
                <a:solidFill>
                  <a:srgbClr val="0D6CB9"/>
                </a:solidFill>
                <a:latin typeface="Calibri" panose="020F0502020204030204"/>
              </a:rPr>
              <a:t> Refresh Changes</a:t>
            </a:r>
            <a:endParaRPr lang="en-US" sz="2800">
              <a:solidFill>
                <a:srgbClr val="0D6CB9"/>
              </a:solidFill>
              <a:latin typeface="Calibri" panose="020F0502020204030204"/>
              <a:cs typeface="Calibri"/>
            </a:endParaRPr>
          </a:p>
          <a:p>
            <a:pPr lvl="1">
              <a:buClr>
                <a:srgbClr val="F16038"/>
              </a:buClr>
            </a:pPr>
            <a:endParaRPr lang="en-US" sz="2800">
              <a:solidFill>
                <a:srgbClr val="0D6CB9"/>
              </a:solidFill>
              <a:latin typeface="Calibri" panose="020F0502020204030204"/>
            </a:endParaRPr>
          </a:p>
          <a:p>
            <a:pPr lvl="1">
              <a:buClr>
                <a:srgbClr val="F16038"/>
              </a:buClr>
            </a:pPr>
            <a:endParaRPr lang="en-US" sz="2800">
              <a:solidFill>
                <a:srgbClr val="0D6CB9"/>
              </a:solidFill>
              <a:latin typeface="Calibri" panose="020F0502020204030204"/>
            </a:endParaRPr>
          </a:p>
          <a:p>
            <a:pPr lvl="1">
              <a:buClr>
                <a:srgbClr val="F16038"/>
              </a:buClr>
            </a:pPr>
            <a:r>
              <a:rPr lang="en-US" sz="2800">
                <a:solidFill>
                  <a:srgbClr val="0D6CB9"/>
                </a:solidFill>
                <a:latin typeface="Calibri" panose="020F0502020204030204"/>
                <a:hlinkClick r:id="rId2"/>
              </a:rPr>
              <a:t>Supplemental </a:t>
            </a:r>
            <a:r>
              <a:rPr lang="en-US" sz="2800" i="1">
                <a:solidFill>
                  <a:srgbClr val="0D6CB9"/>
                </a:solidFill>
                <a:latin typeface="Calibri" panose="020F0502020204030204"/>
                <a:hlinkClick r:id="rId2"/>
              </a:rPr>
              <a:t>A–F </a:t>
            </a:r>
            <a:r>
              <a:rPr lang="en-US" sz="2800">
                <a:solidFill>
                  <a:srgbClr val="0D6CB9"/>
                </a:solidFill>
                <a:latin typeface="Calibri" panose="020F0502020204030204"/>
                <a:hlinkClick r:id="rId2"/>
              </a:rPr>
              <a:t>Refresh Info</a:t>
            </a:r>
            <a:r>
              <a:rPr lang="en-US" sz="2800">
                <a:solidFill>
                  <a:srgbClr val="0D6CB9"/>
                </a:solidFill>
                <a:latin typeface="Calibri" panose="020F0502020204030204"/>
              </a:rPr>
              <a:t> can be found on the </a:t>
            </a:r>
            <a:r>
              <a:rPr lang="en-US" sz="2800">
                <a:solidFill>
                  <a:srgbClr val="0D6CB9"/>
                </a:solidFill>
                <a:latin typeface="Calibri" panose="020F0502020204030204"/>
                <a:hlinkClick r:id="rId3"/>
              </a:rPr>
              <a:t>2023 Accountability Development webpage</a:t>
            </a:r>
            <a:r>
              <a:rPr lang="en-US" sz="2800">
                <a:solidFill>
                  <a:srgbClr val="0D6CB9"/>
                </a:solidFill>
                <a:latin typeface="Calibri" panose="020F0502020204030204"/>
              </a:rPr>
              <a:t>. </a:t>
            </a:r>
            <a:endParaRPr lang="en-US" sz="2800" b="0" i="0" u="none" strike="noStrike" kern="1200" cap="none" spc="0" normalizeH="0" baseline="0" noProof="0">
              <a:ln>
                <a:noFill/>
              </a:ln>
              <a:solidFill>
                <a:srgbClr val="0D6CB9"/>
              </a:solidFill>
              <a:effectLst/>
              <a:uLnTx/>
              <a:uFillTx/>
              <a:latin typeface="Calibri" panose="020F0502020204030204"/>
              <a:cs typeface="Calibri"/>
            </a:endParaRPr>
          </a:p>
        </p:txBody>
      </p:sp>
    </p:spTree>
    <p:extLst>
      <p:ext uri="{BB962C8B-B14F-4D97-AF65-F5344CB8AC3E}">
        <p14:creationId xmlns:p14="http://schemas.microsoft.com/office/powerpoint/2010/main" val="41226693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EDA7009-2BC5-08CF-9E0E-3AAC17A15DB1}"/>
              </a:ext>
            </a:extLst>
          </p:cNvPr>
          <p:cNvSpPr>
            <a:spLocks noGrp="1"/>
          </p:cNvSpPr>
          <p:nvPr>
            <p:ph type="ctrTitle"/>
          </p:nvPr>
        </p:nvSpPr>
        <p:spPr/>
        <p:txBody>
          <a:bodyPr/>
          <a:lstStyle/>
          <a:p>
            <a:pPr algn="ctr"/>
            <a:r>
              <a:rPr lang="en-US"/>
              <a:t>Why Refresh the </a:t>
            </a:r>
            <a:r>
              <a:rPr lang="en-US" i="1"/>
              <a:t>A-F </a:t>
            </a:r>
            <a:r>
              <a:rPr lang="en-US"/>
              <a:t>System?</a:t>
            </a:r>
          </a:p>
        </p:txBody>
      </p:sp>
    </p:spTree>
    <p:extLst>
      <p:ext uri="{BB962C8B-B14F-4D97-AF65-F5344CB8AC3E}">
        <p14:creationId xmlns:p14="http://schemas.microsoft.com/office/powerpoint/2010/main" val="17432532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03A14E-0327-76B4-4D43-018EAFE80796}"/>
              </a:ext>
            </a:extLst>
          </p:cNvPr>
          <p:cNvSpPr>
            <a:spLocks noGrp="1"/>
          </p:cNvSpPr>
          <p:nvPr>
            <p:ph type="title"/>
          </p:nvPr>
        </p:nvSpPr>
        <p:spPr/>
        <p:txBody>
          <a:bodyPr>
            <a:noAutofit/>
          </a:bodyPr>
          <a:lstStyle/>
          <a:p>
            <a:r>
              <a:rPr lang="en-US" sz="2800" i="1"/>
              <a:t>A-F</a:t>
            </a:r>
            <a:r>
              <a:rPr lang="en-US" sz="2800"/>
              <a:t> is a tool to help meet continuously improved goals for students</a:t>
            </a:r>
          </a:p>
        </p:txBody>
      </p:sp>
      <p:sp>
        <p:nvSpPr>
          <p:cNvPr id="4" name="Content Placeholder 3">
            <a:extLst>
              <a:ext uri="{FF2B5EF4-FFF2-40B4-BE49-F238E27FC236}">
                <a16:creationId xmlns:a16="http://schemas.microsoft.com/office/drawing/2014/main" id="{A6A4BA1F-9B5D-31C3-658C-C99E2CC564D2}"/>
              </a:ext>
            </a:extLst>
          </p:cNvPr>
          <p:cNvSpPr>
            <a:spLocks noGrp="1"/>
          </p:cNvSpPr>
          <p:nvPr>
            <p:ph idx="1"/>
          </p:nvPr>
        </p:nvSpPr>
        <p:spPr>
          <a:xfrm>
            <a:off x="1593161" y="1187658"/>
            <a:ext cx="9927357" cy="2091879"/>
          </a:xfrm>
        </p:spPr>
        <p:txBody>
          <a:bodyPr/>
          <a:lstStyle/>
          <a:p>
            <a:pPr marL="0" indent="0">
              <a:buNone/>
            </a:pPr>
            <a:r>
              <a:rPr lang="en-US" sz="2400"/>
              <a:t>According to state law, the purpose of </a:t>
            </a:r>
            <a:r>
              <a:rPr lang="en-US" sz="2400" i="1"/>
              <a:t>A-F</a:t>
            </a:r>
            <a:r>
              <a:rPr lang="en-US" sz="2400"/>
              <a:t> accountability is: </a:t>
            </a:r>
          </a:p>
          <a:p>
            <a:pPr lvl="1" fontAlgn="base">
              <a:buFont typeface="Arial" panose="020B0604020202020204" pitchFamily="34" charset="0"/>
              <a:buChar char="•"/>
            </a:pPr>
            <a:r>
              <a:rPr lang="en-US" sz="2000" b="1">
                <a:solidFill>
                  <a:srgbClr val="000000"/>
                </a:solidFill>
                <a:latin typeface="Courier New" panose="02070309020205020404" pitchFamily="49" charset="0"/>
              </a:rPr>
              <a:t>t</a:t>
            </a:r>
            <a:r>
              <a:rPr lang="en-US" sz="2000" b="1" i="0" u="none" strike="noStrike">
                <a:solidFill>
                  <a:srgbClr val="000000"/>
                </a:solidFill>
                <a:effectLst/>
                <a:latin typeface="Courier New" panose="02070309020205020404" pitchFamily="49" charset="0"/>
              </a:rPr>
              <a:t>o continuously improve student performance</a:t>
            </a:r>
            <a:r>
              <a:rPr lang="en-US" sz="2000" b="0" i="0">
                <a:solidFill>
                  <a:srgbClr val="000000"/>
                </a:solidFill>
                <a:effectLst/>
                <a:latin typeface="Courier New" panose="02070309020205020404" pitchFamily="49" charset="0"/>
              </a:rPr>
              <a:t>​</a:t>
            </a:r>
            <a:endParaRPr lang="en-US" sz="2000" b="0" i="0">
              <a:solidFill>
                <a:srgbClr val="000000"/>
              </a:solidFill>
              <a:effectLst/>
              <a:latin typeface="Arial" panose="020B0604020202020204" pitchFamily="34" charset="0"/>
            </a:endParaRPr>
          </a:p>
          <a:p>
            <a:pPr lvl="1" fontAlgn="base">
              <a:buFont typeface="Arial" panose="020B0604020202020204" pitchFamily="34" charset="0"/>
              <a:buChar char="•"/>
            </a:pPr>
            <a:r>
              <a:rPr lang="en-US" sz="2000" b="1" i="0" u="none" strike="noStrike">
                <a:solidFill>
                  <a:srgbClr val="000000"/>
                </a:solidFill>
                <a:effectLst/>
                <a:latin typeface="Courier New" panose="02070309020205020404" pitchFamily="49" charset="0"/>
              </a:rPr>
              <a:t>eliminating achievement gaps</a:t>
            </a:r>
            <a:r>
              <a:rPr lang="en-US" sz="2000" b="0" i="0" u="none" strike="noStrike">
                <a:solidFill>
                  <a:srgbClr val="000000"/>
                </a:solidFill>
                <a:effectLst/>
                <a:latin typeface="Courier New" panose="02070309020205020404" pitchFamily="49" charset="0"/>
              </a:rPr>
              <a:t> based on race, ethnicity, and socioeconomic status </a:t>
            </a:r>
            <a:r>
              <a:rPr lang="en-US" sz="2000" b="0" i="0">
                <a:solidFill>
                  <a:srgbClr val="000000"/>
                </a:solidFill>
                <a:effectLst/>
                <a:latin typeface="Courier New" panose="02070309020205020404" pitchFamily="49" charset="0"/>
              </a:rPr>
              <a:t>​</a:t>
            </a:r>
            <a:endParaRPr lang="en-US" sz="2000" b="0" i="0">
              <a:solidFill>
                <a:srgbClr val="000000"/>
              </a:solidFill>
              <a:effectLst/>
              <a:latin typeface="Arial" panose="020B0604020202020204" pitchFamily="34" charset="0"/>
            </a:endParaRPr>
          </a:p>
          <a:p>
            <a:pPr lvl="1" fontAlgn="base">
              <a:buFont typeface="Arial" panose="020B0604020202020204" pitchFamily="34" charset="0"/>
              <a:buChar char="•"/>
            </a:pPr>
            <a:r>
              <a:rPr lang="en-US" sz="2000" b="0" i="0" u="none" strike="noStrike">
                <a:solidFill>
                  <a:srgbClr val="000000"/>
                </a:solidFill>
                <a:effectLst/>
                <a:latin typeface="Courier New" panose="02070309020205020404" pitchFamily="49" charset="0"/>
              </a:rPr>
              <a:t>to ensure this state is a national leader in </a:t>
            </a:r>
            <a:r>
              <a:rPr lang="en-US" sz="2000" b="1" i="0" u="none" strike="noStrike">
                <a:solidFill>
                  <a:srgbClr val="000000"/>
                </a:solidFill>
                <a:effectLst/>
                <a:latin typeface="Courier New" panose="02070309020205020404" pitchFamily="49" charset="0"/>
              </a:rPr>
              <a:t>preparing students for postsecondary success</a:t>
            </a:r>
            <a:r>
              <a:rPr lang="en-US" sz="2000" b="0" i="0" u="none" strike="noStrike">
                <a:solidFill>
                  <a:srgbClr val="000000"/>
                </a:solidFill>
                <a:effectLst/>
                <a:latin typeface="Courier New" panose="02070309020205020404" pitchFamily="49" charset="0"/>
              </a:rPr>
              <a:t>.</a:t>
            </a:r>
            <a:endParaRPr lang="en-US" sz="2000" b="0" i="0">
              <a:solidFill>
                <a:srgbClr val="000000"/>
              </a:solidFill>
              <a:effectLst/>
              <a:latin typeface="Arial" panose="020B0604020202020204" pitchFamily="34" charset="0"/>
            </a:endParaRPr>
          </a:p>
        </p:txBody>
      </p:sp>
      <p:grpSp>
        <p:nvGrpSpPr>
          <p:cNvPr id="11" name="Group 10">
            <a:extLst>
              <a:ext uri="{FF2B5EF4-FFF2-40B4-BE49-F238E27FC236}">
                <a16:creationId xmlns:a16="http://schemas.microsoft.com/office/drawing/2014/main" id="{B5C0E7F6-582E-1AAE-C324-3FC73F098745}"/>
              </a:ext>
            </a:extLst>
          </p:cNvPr>
          <p:cNvGrpSpPr/>
          <p:nvPr/>
        </p:nvGrpSpPr>
        <p:grpSpPr>
          <a:xfrm>
            <a:off x="461818" y="1105575"/>
            <a:ext cx="1009768" cy="1009768"/>
            <a:chOff x="452582" y="1302327"/>
            <a:chExt cx="1009768" cy="1009768"/>
          </a:xfrm>
        </p:grpSpPr>
        <p:sp>
          <p:nvSpPr>
            <p:cNvPr id="8" name="Oval 7">
              <a:extLst>
                <a:ext uri="{FF2B5EF4-FFF2-40B4-BE49-F238E27FC236}">
                  <a16:creationId xmlns:a16="http://schemas.microsoft.com/office/drawing/2014/main" id="{574AAC2D-F8B7-A913-71A0-3694BEF20CC9}"/>
                </a:ext>
              </a:extLst>
            </p:cNvPr>
            <p:cNvSpPr/>
            <p:nvPr/>
          </p:nvSpPr>
          <p:spPr>
            <a:xfrm>
              <a:off x="452582" y="1302327"/>
              <a:ext cx="1009768" cy="100976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phic 9" descr="Gavel with solid fill">
              <a:extLst>
                <a:ext uri="{FF2B5EF4-FFF2-40B4-BE49-F238E27FC236}">
                  <a16:creationId xmlns:a16="http://schemas.microsoft.com/office/drawing/2014/main" id="{973B9401-6743-7EF7-9509-07A6C11180B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574157" y="1396194"/>
              <a:ext cx="766618" cy="766618"/>
            </a:xfrm>
            <a:prstGeom prst="rect">
              <a:avLst/>
            </a:prstGeom>
          </p:spPr>
        </p:pic>
      </p:grpSp>
      <p:sp>
        <p:nvSpPr>
          <p:cNvPr id="12" name="Rounded Rectangle 11">
            <a:extLst>
              <a:ext uri="{FF2B5EF4-FFF2-40B4-BE49-F238E27FC236}">
                <a16:creationId xmlns:a16="http://schemas.microsoft.com/office/drawing/2014/main" id="{7B19C176-30B0-F189-A819-A59D85919DE3}"/>
              </a:ext>
            </a:extLst>
          </p:cNvPr>
          <p:cNvSpPr/>
          <p:nvPr/>
        </p:nvSpPr>
        <p:spPr>
          <a:xfrm>
            <a:off x="862701" y="3344704"/>
            <a:ext cx="2927927" cy="2010179"/>
          </a:xfrm>
          <a:prstGeom prst="roundRect">
            <a:avLst>
              <a:gd name="adj" fmla="val 10335"/>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B938A8C0-280D-6685-7741-08504E3F200D}"/>
              </a:ext>
            </a:extLst>
          </p:cNvPr>
          <p:cNvSpPr txBox="1"/>
          <p:nvPr/>
        </p:nvSpPr>
        <p:spPr>
          <a:xfrm>
            <a:off x="1052046" y="3451226"/>
            <a:ext cx="2530764" cy="707886"/>
          </a:xfrm>
          <a:prstGeom prst="rect">
            <a:avLst/>
          </a:prstGeom>
          <a:noFill/>
        </p:spPr>
        <p:txBody>
          <a:bodyPr wrap="square" rtlCol="0">
            <a:spAutoFit/>
          </a:bodyPr>
          <a:lstStyle/>
          <a:p>
            <a:pPr algn="ctr"/>
            <a:r>
              <a:rPr lang="en-US" sz="2000">
                <a:solidFill>
                  <a:schemeClr val="accent1"/>
                </a:solidFill>
                <a:latin typeface="+mj-lt"/>
              </a:rPr>
              <a:t>Improve Student Performance</a:t>
            </a:r>
          </a:p>
        </p:txBody>
      </p:sp>
      <p:sp>
        <p:nvSpPr>
          <p:cNvPr id="14" name="Rounded Rectangle 13">
            <a:extLst>
              <a:ext uri="{FF2B5EF4-FFF2-40B4-BE49-F238E27FC236}">
                <a16:creationId xmlns:a16="http://schemas.microsoft.com/office/drawing/2014/main" id="{59984398-87C6-027D-AAAC-3D41287544B2}"/>
              </a:ext>
            </a:extLst>
          </p:cNvPr>
          <p:cNvSpPr/>
          <p:nvPr/>
        </p:nvSpPr>
        <p:spPr>
          <a:xfrm>
            <a:off x="4654228" y="3344704"/>
            <a:ext cx="2927927" cy="2010179"/>
          </a:xfrm>
          <a:prstGeom prst="roundRect">
            <a:avLst>
              <a:gd name="adj" fmla="val 10335"/>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0FC9808C-53BA-449C-D4D7-B5952CC85E18}"/>
              </a:ext>
            </a:extLst>
          </p:cNvPr>
          <p:cNvSpPr txBox="1"/>
          <p:nvPr/>
        </p:nvSpPr>
        <p:spPr>
          <a:xfrm>
            <a:off x="4885136" y="3451226"/>
            <a:ext cx="2447638" cy="707886"/>
          </a:xfrm>
          <a:prstGeom prst="rect">
            <a:avLst/>
          </a:prstGeom>
          <a:noFill/>
        </p:spPr>
        <p:txBody>
          <a:bodyPr wrap="square" rtlCol="0">
            <a:spAutoFit/>
          </a:bodyPr>
          <a:lstStyle/>
          <a:p>
            <a:pPr algn="ctr"/>
            <a:r>
              <a:rPr lang="en-US" sz="2000">
                <a:solidFill>
                  <a:schemeClr val="accent1"/>
                </a:solidFill>
                <a:latin typeface="+mj-lt"/>
              </a:rPr>
              <a:t>Eliminate Achievement Gaps</a:t>
            </a:r>
          </a:p>
        </p:txBody>
      </p:sp>
      <p:sp>
        <p:nvSpPr>
          <p:cNvPr id="16" name="Rounded Rectangle 15">
            <a:extLst>
              <a:ext uri="{FF2B5EF4-FFF2-40B4-BE49-F238E27FC236}">
                <a16:creationId xmlns:a16="http://schemas.microsoft.com/office/drawing/2014/main" id="{A8DBC132-2ABF-7ED2-5BC3-FF21E77F167D}"/>
              </a:ext>
            </a:extLst>
          </p:cNvPr>
          <p:cNvSpPr/>
          <p:nvPr/>
        </p:nvSpPr>
        <p:spPr>
          <a:xfrm>
            <a:off x="8445756" y="3344704"/>
            <a:ext cx="2927927" cy="2010179"/>
          </a:xfrm>
          <a:prstGeom prst="roundRect">
            <a:avLst>
              <a:gd name="adj" fmla="val 10335"/>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E19E46C6-E2D6-023C-A84B-8ACF0A3F0F3B}"/>
              </a:ext>
            </a:extLst>
          </p:cNvPr>
          <p:cNvSpPr txBox="1"/>
          <p:nvPr/>
        </p:nvSpPr>
        <p:spPr>
          <a:xfrm>
            <a:off x="8635101" y="3451226"/>
            <a:ext cx="2530764" cy="707886"/>
          </a:xfrm>
          <a:prstGeom prst="rect">
            <a:avLst/>
          </a:prstGeom>
          <a:noFill/>
        </p:spPr>
        <p:txBody>
          <a:bodyPr wrap="square" rtlCol="0">
            <a:spAutoFit/>
          </a:bodyPr>
          <a:lstStyle/>
          <a:p>
            <a:pPr algn="ctr"/>
            <a:r>
              <a:rPr lang="en-US" sz="2000">
                <a:solidFill>
                  <a:schemeClr val="accent1"/>
                </a:solidFill>
                <a:latin typeface="+mj-lt"/>
              </a:rPr>
              <a:t>Prepare Students for Postsecondary Success</a:t>
            </a:r>
          </a:p>
        </p:txBody>
      </p:sp>
      <p:pic>
        <p:nvPicPr>
          <p:cNvPr id="18" name="Graphic 17" descr="Bar graph with upward trend with solid fill">
            <a:extLst>
              <a:ext uri="{FF2B5EF4-FFF2-40B4-BE49-F238E27FC236}">
                <a16:creationId xmlns:a16="http://schemas.microsoft.com/office/drawing/2014/main" id="{FE384817-FBC3-65FA-59FB-21924194D28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698591" y="4148890"/>
            <a:ext cx="1072318" cy="1072318"/>
          </a:xfrm>
          <a:prstGeom prst="rect">
            <a:avLst/>
          </a:prstGeom>
        </p:spPr>
      </p:pic>
      <p:pic>
        <p:nvPicPr>
          <p:cNvPr id="19" name="Graphic 18" descr="Graduation cap with solid fill">
            <a:extLst>
              <a:ext uri="{FF2B5EF4-FFF2-40B4-BE49-F238E27FC236}">
                <a16:creationId xmlns:a16="http://schemas.microsoft.com/office/drawing/2014/main" id="{80C7C274-1B91-DBC2-10F5-C968FFCA639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295501" y="4001586"/>
            <a:ext cx="1316182" cy="1316182"/>
          </a:xfrm>
          <a:prstGeom prst="rect">
            <a:avLst/>
          </a:prstGeom>
        </p:spPr>
      </p:pic>
      <p:pic>
        <p:nvPicPr>
          <p:cNvPr id="20" name="Picture 19" descr="A blue circle with arrows in it&#10;&#10;Description automatically generated with low confidence">
            <a:extLst>
              <a:ext uri="{FF2B5EF4-FFF2-40B4-BE49-F238E27FC236}">
                <a16:creationId xmlns:a16="http://schemas.microsoft.com/office/drawing/2014/main" id="{8DDE16FF-2B92-907C-B711-6F07E8FB765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292805" y="4276777"/>
            <a:ext cx="1606390" cy="925873"/>
          </a:xfrm>
          <a:prstGeom prst="rect">
            <a:avLst/>
          </a:prstGeom>
        </p:spPr>
      </p:pic>
      <p:grpSp>
        <p:nvGrpSpPr>
          <p:cNvPr id="21" name="Group 20">
            <a:extLst>
              <a:ext uri="{FF2B5EF4-FFF2-40B4-BE49-F238E27FC236}">
                <a16:creationId xmlns:a16="http://schemas.microsoft.com/office/drawing/2014/main" id="{E087672F-5D87-F95F-1EC6-12D336EAE56C}"/>
              </a:ext>
            </a:extLst>
          </p:cNvPr>
          <p:cNvGrpSpPr/>
          <p:nvPr/>
        </p:nvGrpSpPr>
        <p:grpSpPr>
          <a:xfrm>
            <a:off x="461818" y="5518728"/>
            <a:ext cx="11360727" cy="1094508"/>
            <a:chOff x="461818" y="5518728"/>
            <a:chExt cx="11360727" cy="1094508"/>
          </a:xfrm>
        </p:grpSpPr>
        <p:sp>
          <p:nvSpPr>
            <p:cNvPr id="3" name="Rectangle 2">
              <a:extLst>
                <a:ext uri="{FF2B5EF4-FFF2-40B4-BE49-F238E27FC236}">
                  <a16:creationId xmlns:a16="http://schemas.microsoft.com/office/drawing/2014/main" id="{B6059EFE-92AD-587F-B099-E10E92DC287B}"/>
                </a:ext>
              </a:extLst>
            </p:cNvPr>
            <p:cNvSpPr/>
            <p:nvPr/>
          </p:nvSpPr>
          <p:spPr>
            <a:xfrm>
              <a:off x="461818" y="5518728"/>
              <a:ext cx="11360727" cy="1094508"/>
            </a:xfrm>
            <a:prstGeom prst="rect">
              <a:avLst/>
            </a:prstGeom>
            <a:solidFill>
              <a:schemeClr val="bg1"/>
            </a:solidFill>
            <a:ln w="19050">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CCEF728B-DDDD-0671-8E05-9F23B2823F72}"/>
                </a:ext>
              </a:extLst>
            </p:cNvPr>
            <p:cNvSpPr txBox="1"/>
            <p:nvPr/>
          </p:nvSpPr>
          <p:spPr>
            <a:xfrm>
              <a:off x="788810" y="5658558"/>
              <a:ext cx="10812460" cy="830997"/>
            </a:xfrm>
            <a:prstGeom prst="rect">
              <a:avLst/>
            </a:prstGeom>
            <a:noFill/>
          </p:spPr>
          <p:txBody>
            <a:bodyPr wrap="square">
              <a:spAutoFit/>
            </a:bodyPr>
            <a:lstStyle/>
            <a:p>
              <a:pPr algn="ctr"/>
              <a:r>
                <a:rPr lang="en-US" sz="2400" b="0" i="0">
                  <a:solidFill>
                    <a:srgbClr val="000000"/>
                  </a:solidFill>
                  <a:effectLst/>
                </a:rPr>
                <a:t> </a:t>
              </a:r>
              <a:r>
                <a:rPr lang="en-US" sz="2400" b="0" i="0" u="none" strike="noStrike">
                  <a:solidFill>
                    <a:srgbClr val="0D6CB9"/>
                  </a:solidFill>
                  <a:effectLst/>
                </a:rPr>
                <a:t> Fostering a </a:t>
              </a:r>
              <a:r>
                <a:rPr lang="en-US" sz="2400" b="1" i="0" u="none" strike="noStrike">
                  <a:solidFill>
                    <a:schemeClr val="accent2"/>
                  </a:solidFill>
                  <a:effectLst/>
                </a:rPr>
                <a:t>culture that supports growth </a:t>
              </a:r>
              <a:r>
                <a:rPr lang="en-US" sz="2400" b="0" i="0" u="none" strike="noStrike">
                  <a:solidFill>
                    <a:srgbClr val="0D6CB9"/>
                  </a:solidFill>
                  <a:effectLst/>
                </a:rPr>
                <a:t>and continuous improvement when this performance information is public is a difficult but </a:t>
              </a:r>
              <a:r>
                <a:rPr lang="en-US" sz="2400" b="1" i="0" u="none" strike="noStrike">
                  <a:solidFill>
                    <a:schemeClr val="accent2"/>
                  </a:solidFill>
                  <a:effectLst/>
                </a:rPr>
                <a:t>critical task for education leaders.</a:t>
              </a:r>
              <a:endParaRPr lang="en-US" sz="2400">
                <a:solidFill>
                  <a:schemeClr val="accent2"/>
                </a:solidFill>
              </a:endParaRPr>
            </a:p>
          </p:txBody>
        </p:sp>
      </p:grpSp>
    </p:spTree>
    <p:extLst>
      <p:ext uri="{BB962C8B-B14F-4D97-AF65-F5344CB8AC3E}">
        <p14:creationId xmlns:p14="http://schemas.microsoft.com/office/powerpoint/2010/main" val="7773839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CE3F372-A6A6-8D43-F8E6-BFE5CAC6EE0D}"/>
              </a:ext>
            </a:extLst>
          </p:cNvPr>
          <p:cNvSpPr>
            <a:spLocks noGrp="1"/>
          </p:cNvSpPr>
          <p:nvPr>
            <p:ph type="ctrTitle"/>
          </p:nvPr>
        </p:nvSpPr>
        <p:spPr>
          <a:xfrm>
            <a:off x="2985961" y="149364"/>
            <a:ext cx="8647949" cy="1055322"/>
          </a:xfrm>
        </p:spPr>
        <p:txBody>
          <a:bodyPr/>
          <a:lstStyle/>
          <a:p>
            <a:r>
              <a:rPr lang="en-US" sz="3600">
                <a:highlight>
                  <a:srgbClr val="FFFF00"/>
                </a:highlight>
              </a:rPr>
              <a:t>[Customize] </a:t>
            </a:r>
            <a:r>
              <a:rPr lang="en-US" sz="3600"/>
              <a:t>As a district, we have additional information to help us inform performance</a:t>
            </a:r>
          </a:p>
        </p:txBody>
      </p:sp>
      <p:sp>
        <p:nvSpPr>
          <p:cNvPr id="4" name="TextBox 3">
            <a:extLst>
              <a:ext uri="{FF2B5EF4-FFF2-40B4-BE49-F238E27FC236}">
                <a16:creationId xmlns:a16="http://schemas.microsoft.com/office/drawing/2014/main" id="{C1A00173-746E-E74D-DC09-144CA7BD8361}"/>
              </a:ext>
            </a:extLst>
          </p:cNvPr>
          <p:cNvSpPr txBox="1"/>
          <p:nvPr/>
        </p:nvSpPr>
        <p:spPr>
          <a:xfrm>
            <a:off x="2985961" y="1876151"/>
            <a:ext cx="8821760" cy="310854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F16038"/>
              </a:buClr>
              <a:buSzTx/>
              <a:buFont typeface="Wingdings" pitchFamily="2" charset="2"/>
              <a:buChar char="§"/>
              <a:tabLst/>
              <a:defRPr/>
            </a:pPr>
            <a:r>
              <a:rPr lang="en-US" sz="2800" b="0" i="1" u="none" strike="noStrike">
                <a:solidFill>
                  <a:srgbClr val="0D6CB9"/>
                </a:solidFill>
                <a:effectLst/>
                <a:latin typeface="Calibri" panose="020F0502020204030204" pitchFamily="34" charset="0"/>
              </a:rPr>
              <a:t>As a district, we recognize you have additional information outside of the A–F accountability system that helps inform performance and continuous improvement. </a:t>
            </a:r>
          </a:p>
          <a:p>
            <a:pPr marR="0" lvl="0" algn="l" defTabSz="914400" rtl="0" eaLnBrk="1" fontAlgn="auto" latinLnBrk="0" hangingPunct="1">
              <a:lnSpc>
                <a:spcPct val="100000"/>
              </a:lnSpc>
              <a:spcBef>
                <a:spcPts val="0"/>
              </a:spcBef>
              <a:spcAft>
                <a:spcPts val="0"/>
              </a:spcAft>
              <a:buClr>
                <a:srgbClr val="F16038"/>
              </a:buClr>
              <a:buSzTx/>
              <a:tabLst/>
              <a:defRPr/>
            </a:pPr>
            <a:endParaRPr lang="en-US" sz="2800" b="0" i="1" u="none" strike="noStrike">
              <a:solidFill>
                <a:srgbClr val="0D6CB9"/>
              </a:solidFill>
              <a:effectLst/>
              <a:latin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
                <a:srgbClr val="F16038"/>
              </a:buClr>
              <a:buSzTx/>
              <a:buFont typeface="Wingdings" pitchFamily="2" charset="2"/>
              <a:buChar char="§"/>
              <a:tabLst/>
              <a:defRPr/>
            </a:pPr>
            <a:r>
              <a:rPr lang="en-US" sz="2800" i="1">
                <a:solidFill>
                  <a:srgbClr val="0D6CB9"/>
                </a:solidFill>
                <a:highlight>
                  <a:srgbClr val="FFFF00"/>
                </a:highlight>
                <a:latin typeface="Calibri" panose="020F0502020204030204" pitchFamily="34" charset="0"/>
              </a:rPr>
              <a:t>[Placeholder slide] </a:t>
            </a:r>
            <a:r>
              <a:rPr lang="en-US" sz="2800" i="1">
                <a:solidFill>
                  <a:srgbClr val="0D6CB9"/>
                </a:solidFill>
                <a:latin typeface="Calibri" panose="020F0502020204030204" pitchFamily="34" charset="0"/>
              </a:rPr>
              <a:t>To be </a:t>
            </a:r>
            <a:r>
              <a:rPr lang="en-US" sz="2800" b="0" i="1" u="none" strike="noStrike">
                <a:solidFill>
                  <a:srgbClr val="0D6CB9"/>
                </a:solidFill>
                <a:effectLst/>
                <a:latin typeface="Calibri" panose="020F0502020204030204" pitchFamily="34" charset="0"/>
              </a:rPr>
              <a:t>replaced with additional performance indicators if determined to be of use during the update presentation.</a:t>
            </a:r>
            <a:endParaRPr kumimoji="0" lang="en-US" sz="2800" b="1" i="0" u="none" strike="noStrike" kern="1200" cap="none" spc="0" normalizeH="0" baseline="0" noProof="0">
              <a:ln>
                <a:noFill/>
              </a:ln>
              <a:solidFill>
                <a:srgbClr val="0D6CB9"/>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31880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6">
            <a:extLst>
              <a:ext uri="{FF2B5EF4-FFF2-40B4-BE49-F238E27FC236}">
                <a16:creationId xmlns:a16="http://schemas.microsoft.com/office/drawing/2014/main" id="{D26A543B-7624-B5FA-E80D-A3BBCE2982E1}"/>
              </a:ext>
            </a:extLst>
          </p:cNvPr>
          <p:cNvGraphicFramePr>
            <a:graphicFrameLocks noGrp="1"/>
          </p:cNvGraphicFramePr>
          <p:nvPr>
            <p:extLst>
              <p:ext uri="{D42A27DB-BD31-4B8C-83A1-F6EECF244321}">
                <p14:modId xmlns:p14="http://schemas.microsoft.com/office/powerpoint/2010/main" val="910808012"/>
              </p:ext>
            </p:extLst>
          </p:nvPr>
        </p:nvGraphicFramePr>
        <p:xfrm>
          <a:off x="402283" y="3121105"/>
          <a:ext cx="11355066" cy="522538"/>
        </p:xfrm>
        <a:graphic>
          <a:graphicData uri="http://schemas.openxmlformats.org/drawingml/2006/table">
            <a:tbl>
              <a:tblPr firstRow="1" bandRow="1">
                <a:tableStyleId>{5C22544A-7EE6-4342-B048-85BDC9FD1C3A}</a:tableStyleId>
              </a:tblPr>
              <a:tblGrid>
                <a:gridCol w="1593106">
                  <a:extLst>
                    <a:ext uri="{9D8B030D-6E8A-4147-A177-3AD203B41FA5}">
                      <a16:colId xmlns:a16="http://schemas.microsoft.com/office/drawing/2014/main" val="967437149"/>
                    </a:ext>
                  </a:extLst>
                </a:gridCol>
                <a:gridCol w="1593106">
                  <a:extLst>
                    <a:ext uri="{9D8B030D-6E8A-4147-A177-3AD203B41FA5}">
                      <a16:colId xmlns:a16="http://schemas.microsoft.com/office/drawing/2014/main" val="912355649"/>
                    </a:ext>
                  </a:extLst>
                </a:gridCol>
                <a:gridCol w="1593106">
                  <a:extLst>
                    <a:ext uri="{9D8B030D-6E8A-4147-A177-3AD203B41FA5}">
                      <a16:colId xmlns:a16="http://schemas.microsoft.com/office/drawing/2014/main" val="3093906821"/>
                    </a:ext>
                  </a:extLst>
                </a:gridCol>
                <a:gridCol w="3287874">
                  <a:extLst>
                    <a:ext uri="{9D8B030D-6E8A-4147-A177-3AD203B41FA5}">
                      <a16:colId xmlns:a16="http://schemas.microsoft.com/office/drawing/2014/main" val="3705636975"/>
                    </a:ext>
                  </a:extLst>
                </a:gridCol>
                <a:gridCol w="3287874">
                  <a:extLst>
                    <a:ext uri="{9D8B030D-6E8A-4147-A177-3AD203B41FA5}">
                      <a16:colId xmlns:a16="http://schemas.microsoft.com/office/drawing/2014/main" val="2027091084"/>
                    </a:ext>
                  </a:extLst>
                </a:gridCol>
              </a:tblGrid>
              <a:tr h="522538">
                <a:tc>
                  <a:txBody>
                    <a:bodyPr/>
                    <a:lstStyle/>
                    <a:p>
                      <a:pPr algn="ctr"/>
                      <a:r>
                        <a:rPr lang="en-US" sz="2400"/>
                        <a:t>2019</a:t>
                      </a:r>
                    </a:p>
                  </a:txBody>
                  <a:tcPr anchor="ctr">
                    <a:lnR w="28575" cap="flat" cmpd="sng" algn="ctr">
                      <a:solidFill>
                        <a:schemeClr val="bg1"/>
                      </a:solidFill>
                      <a:prstDash val="solid"/>
                      <a:round/>
                      <a:headEnd type="none" w="med" len="med"/>
                      <a:tailEnd type="none" w="med" len="med"/>
                    </a:lnR>
                  </a:tcPr>
                </a:tc>
                <a:tc>
                  <a:txBody>
                    <a:bodyPr/>
                    <a:lstStyle/>
                    <a:p>
                      <a:pPr algn="ctr"/>
                      <a:r>
                        <a:rPr lang="en-US" sz="2400"/>
                        <a:t>2020</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tcPr>
                </a:tc>
                <a:tc>
                  <a:txBody>
                    <a:bodyPr/>
                    <a:lstStyle/>
                    <a:p>
                      <a:pPr algn="ctr"/>
                      <a:r>
                        <a:rPr lang="en-US" sz="2400"/>
                        <a:t>2021</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tcPr>
                </a:tc>
                <a:tc>
                  <a:txBody>
                    <a:bodyPr/>
                    <a:lstStyle/>
                    <a:p>
                      <a:pPr algn="ctr"/>
                      <a:r>
                        <a:rPr lang="en-US" sz="2400"/>
                        <a:t>2022</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tcPr>
                </a:tc>
                <a:tc>
                  <a:txBody>
                    <a:bodyPr/>
                    <a:lstStyle/>
                    <a:p>
                      <a:pPr algn="ctr"/>
                      <a:r>
                        <a:rPr lang="en-US" sz="2400"/>
                        <a:t>2023</a:t>
                      </a:r>
                    </a:p>
                  </a:txBody>
                  <a:tcPr anchor="ctr">
                    <a:lnL w="28575"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3498483161"/>
                  </a:ext>
                </a:extLst>
              </a:tr>
            </a:tbl>
          </a:graphicData>
        </a:graphic>
      </p:graphicFrame>
      <p:sp>
        <p:nvSpPr>
          <p:cNvPr id="2" name="Title 1">
            <a:extLst>
              <a:ext uri="{FF2B5EF4-FFF2-40B4-BE49-F238E27FC236}">
                <a16:creationId xmlns:a16="http://schemas.microsoft.com/office/drawing/2014/main" id="{FD03A14E-0327-76B4-4D43-018EAFE80796}"/>
              </a:ext>
            </a:extLst>
          </p:cNvPr>
          <p:cNvSpPr>
            <a:spLocks noGrp="1"/>
          </p:cNvSpPr>
          <p:nvPr>
            <p:ph type="title"/>
          </p:nvPr>
        </p:nvSpPr>
        <p:spPr>
          <a:xfrm>
            <a:off x="1074393" y="160894"/>
            <a:ext cx="9461438" cy="751350"/>
          </a:xfrm>
        </p:spPr>
        <p:txBody>
          <a:bodyPr>
            <a:noAutofit/>
          </a:bodyPr>
          <a:lstStyle/>
          <a:p>
            <a:r>
              <a:rPr lang="en-US" sz="2800"/>
              <a:t>Extensive feedback has been gathered on potential </a:t>
            </a:r>
            <a:r>
              <a:rPr lang="en-US" sz="2800" i="1"/>
              <a:t>A-F</a:t>
            </a:r>
            <a:r>
              <a:rPr lang="en-US" sz="2800"/>
              <a:t> changes</a:t>
            </a:r>
          </a:p>
        </p:txBody>
      </p:sp>
      <p:grpSp>
        <p:nvGrpSpPr>
          <p:cNvPr id="9" name="Group 8">
            <a:extLst>
              <a:ext uri="{FF2B5EF4-FFF2-40B4-BE49-F238E27FC236}">
                <a16:creationId xmlns:a16="http://schemas.microsoft.com/office/drawing/2014/main" id="{AAD95769-066F-73B3-2D41-6C69F10BB1C1}"/>
              </a:ext>
            </a:extLst>
          </p:cNvPr>
          <p:cNvGrpSpPr/>
          <p:nvPr/>
        </p:nvGrpSpPr>
        <p:grpSpPr>
          <a:xfrm>
            <a:off x="292809" y="149878"/>
            <a:ext cx="675379" cy="675379"/>
            <a:chOff x="452581" y="1302326"/>
            <a:chExt cx="1634837" cy="1634837"/>
          </a:xfrm>
        </p:grpSpPr>
        <p:sp>
          <p:nvSpPr>
            <p:cNvPr id="3" name="Oval 2">
              <a:extLst>
                <a:ext uri="{FF2B5EF4-FFF2-40B4-BE49-F238E27FC236}">
                  <a16:creationId xmlns:a16="http://schemas.microsoft.com/office/drawing/2014/main" id="{4ECFB944-2BE1-AAAA-BC42-E38C16A1EEB7}"/>
                </a:ext>
              </a:extLst>
            </p:cNvPr>
            <p:cNvSpPr/>
            <p:nvPr/>
          </p:nvSpPr>
          <p:spPr>
            <a:xfrm>
              <a:off x="452581" y="1302326"/>
              <a:ext cx="1634837" cy="16348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Graphic 7" descr="Comment Dislike with solid fill">
              <a:extLst>
                <a:ext uri="{FF2B5EF4-FFF2-40B4-BE49-F238E27FC236}">
                  <a16:creationId xmlns:a16="http://schemas.microsoft.com/office/drawing/2014/main" id="{DEE322D6-9ED5-AC78-89F9-DBC9E8CF6EF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959426" y="1832071"/>
              <a:ext cx="1081808" cy="1081808"/>
            </a:xfrm>
            <a:prstGeom prst="rect">
              <a:avLst/>
            </a:prstGeom>
          </p:spPr>
        </p:pic>
        <p:pic>
          <p:nvPicPr>
            <p:cNvPr id="6" name="Graphic 5" descr="Comment Like with solid fill">
              <a:extLst>
                <a:ext uri="{FF2B5EF4-FFF2-40B4-BE49-F238E27FC236}">
                  <a16:creationId xmlns:a16="http://schemas.microsoft.com/office/drawing/2014/main" id="{53BC5AC2-6E86-2BD8-637D-30705CFCC03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59954" y="1462905"/>
              <a:ext cx="999836" cy="999836"/>
            </a:xfrm>
            <a:prstGeom prst="rect">
              <a:avLst/>
            </a:prstGeom>
          </p:spPr>
        </p:pic>
      </p:grpSp>
      <p:sp>
        <p:nvSpPr>
          <p:cNvPr id="7" name="Rectangle 6">
            <a:extLst>
              <a:ext uri="{FF2B5EF4-FFF2-40B4-BE49-F238E27FC236}">
                <a16:creationId xmlns:a16="http://schemas.microsoft.com/office/drawing/2014/main" id="{DDCB0EAD-8814-3680-3FBD-00E4A283AEF8}"/>
              </a:ext>
            </a:extLst>
          </p:cNvPr>
          <p:cNvSpPr/>
          <p:nvPr/>
        </p:nvSpPr>
        <p:spPr>
          <a:xfrm>
            <a:off x="1205301" y="3939841"/>
            <a:ext cx="5298140" cy="42716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tx1">
                    <a:lumMod val="85000"/>
                    <a:lumOff val="15000"/>
                  </a:schemeClr>
                </a:solidFill>
                <a:latin typeface="+mj-lt"/>
              </a:rPr>
              <a:t>July 2019 – May 2022: Gathered feedback from stakeholders</a:t>
            </a:r>
          </a:p>
        </p:txBody>
      </p:sp>
      <p:sp>
        <p:nvSpPr>
          <p:cNvPr id="10" name="Rectangle 9">
            <a:extLst>
              <a:ext uri="{FF2B5EF4-FFF2-40B4-BE49-F238E27FC236}">
                <a16:creationId xmlns:a16="http://schemas.microsoft.com/office/drawing/2014/main" id="{DA4992CE-A728-3DC8-CBEC-F21283F47693}"/>
              </a:ext>
            </a:extLst>
          </p:cNvPr>
          <p:cNvSpPr/>
          <p:nvPr/>
        </p:nvSpPr>
        <p:spPr>
          <a:xfrm>
            <a:off x="6761754" y="4598198"/>
            <a:ext cx="3390858" cy="125430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a:solidFill>
                  <a:schemeClr val="tx1">
                    <a:lumMod val="85000"/>
                    <a:lumOff val="15000"/>
                  </a:schemeClr>
                </a:solidFill>
                <a:latin typeface="+mj-lt"/>
              </a:rPr>
              <a:t>Multiple rounds of proposed frameworks for the refreshed A-F system were published in the last year, with updates based on feedback</a:t>
            </a:r>
          </a:p>
        </p:txBody>
      </p:sp>
      <p:cxnSp>
        <p:nvCxnSpPr>
          <p:cNvPr id="20" name="Straight Connector 19">
            <a:extLst>
              <a:ext uri="{FF2B5EF4-FFF2-40B4-BE49-F238E27FC236}">
                <a16:creationId xmlns:a16="http://schemas.microsoft.com/office/drawing/2014/main" id="{DB4A01F9-C797-84A2-DCCD-1906799FD6AF}"/>
              </a:ext>
            </a:extLst>
          </p:cNvPr>
          <p:cNvCxnSpPr>
            <a:cxnSpLocks/>
          </p:cNvCxnSpPr>
          <p:nvPr/>
        </p:nvCxnSpPr>
        <p:spPr>
          <a:xfrm>
            <a:off x="7047987" y="3564380"/>
            <a:ext cx="0" cy="282960"/>
          </a:xfrm>
          <a:prstGeom prst="line">
            <a:avLst/>
          </a:prstGeom>
          <a:ln w="19050" cap="rnd">
            <a:solidFill>
              <a:schemeClr val="accent2"/>
            </a:solidFill>
            <a:round/>
            <a:headEnd type="oval"/>
            <a:tailEnd type="oval"/>
          </a:ln>
        </p:spPr>
        <p:style>
          <a:lnRef idx="1">
            <a:schemeClr val="accent1"/>
          </a:lnRef>
          <a:fillRef idx="0">
            <a:schemeClr val="accent1"/>
          </a:fillRef>
          <a:effectRef idx="0">
            <a:schemeClr val="accent1"/>
          </a:effectRef>
          <a:fontRef idx="minor">
            <a:schemeClr val="tx1"/>
          </a:fontRef>
        </p:style>
      </p:cxnSp>
      <p:pic>
        <p:nvPicPr>
          <p:cNvPr id="18" name="Graphic 17" descr="Badge 4 with solid fill">
            <a:extLst>
              <a:ext uri="{FF2B5EF4-FFF2-40B4-BE49-F238E27FC236}">
                <a16:creationId xmlns:a16="http://schemas.microsoft.com/office/drawing/2014/main" id="{7BA048B1-F967-8E80-D2FC-F92324B5757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475831" y="3769315"/>
            <a:ext cx="457200" cy="457200"/>
          </a:xfrm>
          <a:prstGeom prst="rect">
            <a:avLst/>
          </a:prstGeom>
        </p:spPr>
      </p:pic>
      <p:pic>
        <p:nvPicPr>
          <p:cNvPr id="21" name="Graphic 20" descr="Badge 3 with solid fill">
            <a:extLst>
              <a:ext uri="{FF2B5EF4-FFF2-40B4-BE49-F238E27FC236}">
                <a16:creationId xmlns:a16="http://schemas.microsoft.com/office/drawing/2014/main" id="{DF81686F-2921-739D-0E6E-9D4037A4731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86320" y="3769315"/>
            <a:ext cx="457200" cy="457200"/>
          </a:xfrm>
          <a:prstGeom prst="rect">
            <a:avLst/>
          </a:prstGeom>
        </p:spPr>
      </p:pic>
      <p:pic>
        <p:nvPicPr>
          <p:cNvPr id="23" name="Graphic 22" descr="Badge 1 with solid fill">
            <a:extLst>
              <a:ext uri="{FF2B5EF4-FFF2-40B4-BE49-F238E27FC236}">
                <a16:creationId xmlns:a16="http://schemas.microsoft.com/office/drawing/2014/main" id="{808F4764-6AE3-8242-242C-AD756873494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807297" y="3769315"/>
            <a:ext cx="457200" cy="457200"/>
          </a:xfrm>
          <a:prstGeom prst="rect">
            <a:avLst/>
          </a:prstGeom>
        </p:spPr>
      </p:pic>
      <p:pic>
        <p:nvPicPr>
          <p:cNvPr id="25" name="Graphic 24" descr="Badge with solid fill">
            <a:extLst>
              <a:ext uri="{FF2B5EF4-FFF2-40B4-BE49-F238E27FC236}">
                <a16:creationId xmlns:a16="http://schemas.microsoft.com/office/drawing/2014/main" id="{F1BDD9C7-C8CF-182A-4B4D-9EA12DF395AD}"/>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701250" y="3769315"/>
            <a:ext cx="457200" cy="457200"/>
          </a:xfrm>
          <a:prstGeom prst="rect">
            <a:avLst/>
          </a:prstGeom>
        </p:spPr>
      </p:pic>
      <p:sp>
        <p:nvSpPr>
          <p:cNvPr id="29" name="TextBox 28">
            <a:extLst>
              <a:ext uri="{FF2B5EF4-FFF2-40B4-BE49-F238E27FC236}">
                <a16:creationId xmlns:a16="http://schemas.microsoft.com/office/drawing/2014/main" id="{0D536B5E-56F8-A8BE-2357-E3F766419487}"/>
              </a:ext>
            </a:extLst>
          </p:cNvPr>
          <p:cNvSpPr txBox="1"/>
          <p:nvPr/>
        </p:nvSpPr>
        <p:spPr>
          <a:xfrm>
            <a:off x="6761754" y="4165734"/>
            <a:ext cx="548286" cy="307777"/>
          </a:xfrm>
          <a:prstGeom prst="rect">
            <a:avLst/>
          </a:prstGeom>
          <a:noFill/>
        </p:spPr>
        <p:txBody>
          <a:bodyPr wrap="square" rtlCol="0">
            <a:spAutoFit/>
          </a:bodyPr>
          <a:lstStyle/>
          <a:p>
            <a:pPr algn="ctr"/>
            <a:r>
              <a:rPr lang="en-US" sz="1400">
                <a:solidFill>
                  <a:schemeClr val="tx1">
                    <a:lumMod val="85000"/>
                    <a:lumOff val="15000"/>
                  </a:schemeClr>
                </a:solidFill>
                <a:latin typeface="+mj-lt"/>
              </a:rPr>
              <a:t>June</a:t>
            </a:r>
          </a:p>
        </p:txBody>
      </p:sp>
      <p:sp>
        <p:nvSpPr>
          <p:cNvPr id="30" name="TextBox 29">
            <a:extLst>
              <a:ext uri="{FF2B5EF4-FFF2-40B4-BE49-F238E27FC236}">
                <a16:creationId xmlns:a16="http://schemas.microsoft.com/office/drawing/2014/main" id="{E5CF4F9F-7B7A-D2DA-E6A6-8E399FFC3B83}"/>
              </a:ext>
            </a:extLst>
          </p:cNvPr>
          <p:cNvSpPr txBox="1"/>
          <p:nvPr/>
        </p:nvSpPr>
        <p:spPr>
          <a:xfrm>
            <a:off x="7651264" y="4165734"/>
            <a:ext cx="548286" cy="307777"/>
          </a:xfrm>
          <a:prstGeom prst="rect">
            <a:avLst/>
          </a:prstGeom>
          <a:noFill/>
        </p:spPr>
        <p:txBody>
          <a:bodyPr wrap="square" rtlCol="0">
            <a:spAutoFit/>
          </a:bodyPr>
          <a:lstStyle/>
          <a:p>
            <a:pPr algn="ctr"/>
            <a:r>
              <a:rPr lang="en-US" sz="1400">
                <a:solidFill>
                  <a:schemeClr val="tx1">
                    <a:lumMod val="85000"/>
                    <a:lumOff val="15000"/>
                  </a:schemeClr>
                </a:solidFill>
                <a:latin typeface="+mj-lt"/>
              </a:rPr>
              <a:t>Nov.</a:t>
            </a:r>
          </a:p>
        </p:txBody>
      </p:sp>
      <p:sp>
        <p:nvSpPr>
          <p:cNvPr id="31" name="TextBox 30">
            <a:extLst>
              <a:ext uri="{FF2B5EF4-FFF2-40B4-BE49-F238E27FC236}">
                <a16:creationId xmlns:a16="http://schemas.microsoft.com/office/drawing/2014/main" id="{AEAB43E5-24AF-509B-C269-3BBBEADC8329}"/>
              </a:ext>
            </a:extLst>
          </p:cNvPr>
          <p:cNvSpPr txBox="1"/>
          <p:nvPr/>
        </p:nvSpPr>
        <p:spPr>
          <a:xfrm>
            <a:off x="8540774" y="4165734"/>
            <a:ext cx="548286" cy="307777"/>
          </a:xfrm>
          <a:prstGeom prst="rect">
            <a:avLst/>
          </a:prstGeom>
          <a:noFill/>
        </p:spPr>
        <p:txBody>
          <a:bodyPr wrap="square" rtlCol="0">
            <a:spAutoFit/>
          </a:bodyPr>
          <a:lstStyle/>
          <a:p>
            <a:pPr algn="ctr"/>
            <a:r>
              <a:rPr lang="en-US" sz="1400">
                <a:solidFill>
                  <a:schemeClr val="tx1">
                    <a:lumMod val="85000"/>
                    <a:lumOff val="15000"/>
                  </a:schemeClr>
                </a:solidFill>
                <a:latin typeface="+mj-lt"/>
              </a:rPr>
              <a:t>Jan.</a:t>
            </a:r>
          </a:p>
        </p:txBody>
      </p:sp>
      <p:sp>
        <p:nvSpPr>
          <p:cNvPr id="32" name="TextBox 31">
            <a:extLst>
              <a:ext uri="{FF2B5EF4-FFF2-40B4-BE49-F238E27FC236}">
                <a16:creationId xmlns:a16="http://schemas.microsoft.com/office/drawing/2014/main" id="{AA1A605A-7607-7D10-EFCD-1CF0EEC4484D}"/>
              </a:ext>
            </a:extLst>
          </p:cNvPr>
          <p:cNvSpPr txBox="1"/>
          <p:nvPr/>
        </p:nvSpPr>
        <p:spPr>
          <a:xfrm>
            <a:off x="9342838" y="4165734"/>
            <a:ext cx="714081" cy="307777"/>
          </a:xfrm>
          <a:prstGeom prst="rect">
            <a:avLst/>
          </a:prstGeom>
          <a:noFill/>
        </p:spPr>
        <p:txBody>
          <a:bodyPr wrap="square" rtlCol="0">
            <a:spAutoFit/>
          </a:bodyPr>
          <a:lstStyle/>
          <a:p>
            <a:pPr algn="ctr"/>
            <a:r>
              <a:rPr lang="en-US" sz="1400">
                <a:solidFill>
                  <a:schemeClr val="tx1">
                    <a:lumMod val="85000"/>
                    <a:lumOff val="15000"/>
                  </a:schemeClr>
                </a:solidFill>
                <a:latin typeface="+mj-lt"/>
              </a:rPr>
              <a:t>March</a:t>
            </a:r>
          </a:p>
        </p:txBody>
      </p:sp>
      <p:cxnSp>
        <p:nvCxnSpPr>
          <p:cNvPr id="40" name="Straight Connector 39">
            <a:extLst>
              <a:ext uri="{FF2B5EF4-FFF2-40B4-BE49-F238E27FC236}">
                <a16:creationId xmlns:a16="http://schemas.microsoft.com/office/drawing/2014/main" id="{DFD1846F-5ED0-BD2F-BDC8-A3976A5562F3}"/>
              </a:ext>
            </a:extLst>
          </p:cNvPr>
          <p:cNvCxnSpPr>
            <a:cxnSpLocks/>
          </p:cNvCxnSpPr>
          <p:nvPr/>
        </p:nvCxnSpPr>
        <p:spPr>
          <a:xfrm>
            <a:off x="7925407" y="3564380"/>
            <a:ext cx="0" cy="282960"/>
          </a:xfrm>
          <a:prstGeom prst="line">
            <a:avLst/>
          </a:prstGeom>
          <a:ln w="19050" cap="rnd">
            <a:solidFill>
              <a:schemeClr val="accent2"/>
            </a:solidFill>
            <a:round/>
            <a:headEnd type="oval"/>
            <a:tailEnd type="ova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AFCB1174-8E87-1FE3-8A30-D615921A0840}"/>
              </a:ext>
            </a:extLst>
          </p:cNvPr>
          <p:cNvCxnSpPr>
            <a:cxnSpLocks/>
          </p:cNvCxnSpPr>
          <p:nvPr/>
        </p:nvCxnSpPr>
        <p:spPr>
          <a:xfrm>
            <a:off x="8807680" y="3564380"/>
            <a:ext cx="0" cy="282960"/>
          </a:xfrm>
          <a:prstGeom prst="line">
            <a:avLst/>
          </a:prstGeom>
          <a:ln w="19050" cap="rnd">
            <a:solidFill>
              <a:schemeClr val="accent2"/>
            </a:solidFill>
            <a:round/>
            <a:headEnd type="oval"/>
            <a:tailEnd type="ova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65932AD0-6999-C008-B358-24ABD4948303}"/>
              </a:ext>
            </a:extLst>
          </p:cNvPr>
          <p:cNvCxnSpPr>
            <a:cxnSpLocks/>
          </p:cNvCxnSpPr>
          <p:nvPr/>
        </p:nvCxnSpPr>
        <p:spPr>
          <a:xfrm>
            <a:off x="9699878" y="3564380"/>
            <a:ext cx="0" cy="282960"/>
          </a:xfrm>
          <a:prstGeom prst="line">
            <a:avLst/>
          </a:prstGeom>
          <a:ln w="19050" cap="rnd">
            <a:solidFill>
              <a:schemeClr val="accent2"/>
            </a:solidFill>
            <a:round/>
            <a:headEnd type="oval"/>
            <a:tailEnd type="oval"/>
          </a:ln>
        </p:spPr>
        <p:style>
          <a:lnRef idx="1">
            <a:schemeClr val="accent1"/>
          </a:lnRef>
          <a:fillRef idx="0">
            <a:schemeClr val="accent1"/>
          </a:fillRef>
          <a:effectRef idx="0">
            <a:schemeClr val="accent1"/>
          </a:effectRef>
          <a:fontRef idx="minor">
            <a:schemeClr val="tx1"/>
          </a:fontRef>
        </p:style>
      </p:cxnSp>
      <p:sp>
        <p:nvSpPr>
          <p:cNvPr id="43" name="Right Brace 42">
            <a:extLst>
              <a:ext uri="{FF2B5EF4-FFF2-40B4-BE49-F238E27FC236}">
                <a16:creationId xmlns:a16="http://schemas.microsoft.com/office/drawing/2014/main" id="{0F7487BE-D711-E975-48A6-4596D8A0AE01}"/>
              </a:ext>
            </a:extLst>
          </p:cNvPr>
          <p:cNvSpPr/>
          <p:nvPr/>
        </p:nvSpPr>
        <p:spPr>
          <a:xfrm rot="5400000">
            <a:off x="8255446" y="2885134"/>
            <a:ext cx="307777" cy="3295164"/>
          </a:xfrm>
          <a:prstGeom prst="rightBrace">
            <a:avLst>
              <a:gd name="adj1" fmla="val 43286"/>
              <a:gd name="adj2" fmla="val 50000"/>
            </a:avLst>
          </a:prstGeom>
          <a:ln w="1905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6" name="Right Brace 45">
            <a:extLst>
              <a:ext uri="{FF2B5EF4-FFF2-40B4-BE49-F238E27FC236}">
                <a16:creationId xmlns:a16="http://schemas.microsoft.com/office/drawing/2014/main" id="{2189CDE2-78E2-A05A-2691-4C9D37FDB809}"/>
              </a:ext>
            </a:extLst>
          </p:cNvPr>
          <p:cNvSpPr/>
          <p:nvPr/>
        </p:nvSpPr>
        <p:spPr>
          <a:xfrm rot="5400000">
            <a:off x="3675218" y="1140328"/>
            <a:ext cx="307777" cy="5381179"/>
          </a:xfrm>
          <a:prstGeom prst="rightBrace">
            <a:avLst>
              <a:gd name="adj1" fmla="val 43286"/>
              <a:gd name="adj2" fmla="val 50000"/>
            </a:avLst>
          </a:prstGeom>
          <a:ln w="1905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2071614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16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SAqZMLEpfDdxRzMR0AyQK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ZcItjcxXt2AHvROAgw4xl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RrrwzWUj6_IExNlxA8xD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pUww_k.UM2h9_8QFNY6v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4aabf23mKTUjKc_LdBTfb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cL_XmY9O6jq3p5RwQPAIV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TEA Colors - 2021">
      <a:dk1>
        <a:srgbClr val="000000"/>
      </a:dk1>
      <a:lt1>
        <a:srgbClr val="FFFFFF"/>
      </a:lt1>
      <a:dk2>
        <a:srgbClr val="41873F"/>
      </a:dk2>
      <a:lt2>
        <a:srgbClr val="D8D8D8"/>
      </a:lt2>
      <a:accent1>
        <a:srgbClr val="0D6CB9"/>
      </a:accent1>
      <a:accent2>
        <a:srgbClr val="F16038"/>
      </a:accent2>
      <a:accent3>
        <a:srgbClr val="B72418"/>
      </a:accent3>
      <a:accent4>
        <a:srgbClr val="704180"/>
      </a:accent4>
      <a:accent5>
        <a:srgbClr val="596167"/>
      </a:accent5>
      <a:accent6>
        <a:srgbClr val="012069"/>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3rd Party Audit_Deck" id="{ED5681E0-2ACF-5F4C-80A7-CD4EAF252779}" vid="{0A3418BE-81B1-EC4B-9894-F9C21435473A}"/>
    </a:ext>
  </a:extLst>
</a:theme>
</file>

<file path=ppt/theme/theme2.xml><?xml version="1.0" encoding="utf-8"?>
<a:theme xmlns:a="http://schemas.openxmlformats.org/drawingml/2006/main" name="2_Office Theme">
  <a:themeElements>
    <a:clrScheme name="TEA Colors - 2021">
      <a:dk1>
        <a:srgbClr val="000000"/>
      </a:dk1>
      <a:lt1>
        <a:srgbClr val="FFFFFF"/>
      </a:lt1>
      <a:dk2>
        <a:srgbClr val="41873F"/>
      </a:dk2>
      <a:lt2>
        <a:srgbClr val="D8D8D8"/>
      </a:lt2>
      <a:accent1>
        <a:srgbClr val="0D6CB9"/>
      </a:accent1>
      <a:accent2>
        <a:srgbClr val="F16038"/>
      </a:accent2>
      <a:accent3>
        <a:srgbClr val="B72418"/>
      </a:accent3>
      <a:accent4>
        <a:srgbClr val="704180"/>
      </a:accent4>
      <a:accent5>
        <a:srgbClr val="596167"/>
      </a:accent5>
      <a:accent6>
        <a:srgbClr val="012069"/>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3rd Party Audit_Deck" id="{ED5681E0-2ACF-5F4C-80A7-CD4EAF252779}" vid="{0A3418BE-81B1-EC4B-9894-F9C21435473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98FFA9740F113469B728CFF993204C0" ma:contentTypeVersion="7" ma:contentTypeDescription="Create a new document." ma:contentTypeScope="" ma:versionID="1d5de978529fe7442ed066d4ea41c7da">
  <xsd:schema xmlns:xsd="http://www.w3.org/2001/XMLSchema" xmlns:xs="http://www.w3.org/2001/XMLSchema" xmlns:p="http://schemas.microsoft.com/office/2006/metadata/properties" xmlns:ns2="2ad25943-72fe-454b-b3d2-3cf9634cc59e" xmlns:ns3="c34b8b11-9d2c-41b7-8fa7-000448388a60" targetNamespace="http://schemas.microsoft.com/office/2006/metadata/properties" ma:root="true" ma:fieldsID="547d79445b202cb67a95bc4d1d34e5e7" ns2:_="" ns3:_="">
    <xsd:import namespace="2ad25943-72fe-454b-b3d2-3cf9634cc59e"/>
    <xsd:import namespace="c34b8b11-9d2c-41b7-8fa7-000448388a60"/>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LengthInSecond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ad25943-72fe-454b-b3d2-3cf9634cc59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34b8b11-9d2c-41b7-8fa7-000448388a60"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c34b8b11-9d2c-41b7-8fa7-000448388a60">
      <UserInfo>
        <DisplayName>Tian, Iris</DisplayName>
        <AccountId>10</AccountId>
        <AccountType/>
      </UserInfo>
    </SharedWithUsers>
  </documentManagement>
</p:properties>
</file>

<file path=customXml/itemProps1.xml><?xml version="1.0" encoding="utf-8"?>
<ds:datastoreItem xmlns:ds="http://schemas.openxmlformats.org/officeDocument/2006/customXml" ds:itemID="{1064DDDA-F9C1-47BB-BA22-53F572CB9BE4}">
  <ds:schemaRefs>
    <ds:schemaRef ds:uri="http://schemas.microsoft.com/sharepoint/v3/contenttype/forms"/>
  </ds:schemaRefs>
</ds:datastoreItem>
</file>

<file path=customXml/itemProps2.xml><?xml version="1.0" encoding="utf-8"?>
<ds:datastoreItem xmlns:ds="http://schemas.openxmlformats.org/officeDocument/2006/customXml" ds:itemID="{726FC30E-F8BB-4431-B15A-E467A1A7E575}">
  <ds:schemaRefs>
    <ds:schemaRef ds:uri="2ad25943-72fe-454b-b3d2-3cf9634cc59e"/>
    <ds:schemaRef ds:uri="c34b8b11-9d2c-41b7-8fa7-000448388a6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058525B4-A87A-467C-A419-A638F4922B65}">
  <ds:schemaRefs>
    <ds:schemaRef ds:uri="http://schemas.microsoft.com/office/2006/metadata/properties"/>
    <ds:schemaRef ds:uri="http://purl.org/dc/elements/1.1/"/>
    <ds:schemaRef ds:uri="http://schemas.openxmlformats.org/package/2006/metadata/core-properties"/>
    <ds:schemaRef ds:uri="http://purl.org/dc/terms/"/>
    <ds:schemaRef ds:uri="2ad25943-72fe-454b-b3d2-3cf9634cc59e"/>
    <ds:schemaRef ds:uri="http://schemas.microsoft.com/office/infopath/2007/PartnerControls"/>
    <ds:schemaRef ds:uri="http://schemas.microsoft.com/office/2006/documentManagement/types"/>
    <ds:schemaRef ds:uri="c34b8b11-9d2c-41b7-8fa7-000448388a60"/>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2_Office Theme</Template>
  <TotalTime>1</TotalTime>
  <Words>3196</Words>
  <Application>Microsoft Office PowerPoint</Application>
  <PresentationFormat>Widescreen</PresentationFormat>
  <Paragraphs>424</Paragraphs>
  <Slides>31</Slides>
  <Notes>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31</vt:i4>
      </vt:variant>
    </vt:vector>
  </HeadingPairs>
  <TitlesOfParts>
    <vt:vector size="40" baseType="lpstr">
      <vt:lpstr>Arial</vt:lpstr>
      <vt:lpstr>Calibri</vt:lpstr>
      <vt:lpstr>Calibri Light</vt:lpstr>
      <vt:lpstr>Courier New</vt:lpstr>
      <vt:lpstr>Open Sans</vt:lpstr>
      <vt:lpstr>Wingdings</vt:lpstr>
      <vt:lpstr>2_Office Theme</vt:lpstr>
      <vt:lpstr>2_Office Theme</vt:lpstr>
      <vt:lpstr>think-cell Slide</vt:lpstr>
      <vt:lpstr>Updated A–F Refresh Template  District Presentation to School Board October 2023</vt:lpstr>
      <vt:lpstr>[Template] Objectives and Instructions</vt:lpstr>
      <vt:lpstr>[Template] 2023 A-F Communications Timeline</vt:lpstr>
      <vt:lpstr>Video Message from the Commissioner</vt:lpstr>
      <vt:lpstr>[Customize] Additional A–F context to share</vt:lpstr>
      <vt:lpstr>Why Refresh the A-F System?</vt:lpstr>
      <vt:lpstr>A-F is a tool to help meet continuously improved goals for students</vt:lpstr>
      <vt:lpstr>[Customize] As a district, we have additional information to help us inform performance</vt:lpstr>
      <vt:lpstr>Extensive feedback has been gathered on potential A-F changes</vt:lpstr>
      <vt:lpstr>The A-F system has stayed the same during the past 5 years, but statute requires updates to meet goals for students</vt:lpstr>
      <vt:lpstr>What is “What If”?</vt:lpstr>
      <vt:lpstr>Evaluating performance will be different this year</vt:lpstr>
      <vt:lpstr>Because of this, TEA is providing districts  “What If” ratings</vt:lpstr>
      <vt:lpstr>TEA is publicly sharing “What If” ratings with 2023 ratings</vt:lpstr>
      <vt:lpstr>“What If” Ratings Let’s get familiar with changes to A-F</vt:lpstr>
      <vt:lpstr>[Customize] “What If” ratings for [campus A - elementary]</vt:lpstr>
      <vt:lpstr>[Customize] “What If” ratings for [campus B – high school]</vt:lpstr>
      <vt:lpstr>New methodology for District Ratings</vt:lpstr>
      <vt:lpstr>Impacts of new methodology for District Ratings</vt:lpstr>
      <vt:lpstr>Example of disproportionate emphasis on HS performance</vt:lpstr>
      <vt:lpstr>[Customize] “What If” ratings for [district name]</vt:lpstr>
      <vt:lpstr>“What If” ratings viewed statewide for context</vt:lpstr>
      <vt:lpstr>“What If” ratings viewed statewide for context</vt:lpstr>
      <vt:lpstr>[Customize] 2023 ratings for [district]</vt:lpstr>
      <vt:lpstr>2023 A–F ratings and 2022 “What If” Ratings Let’s see how we did this year</vt:lpstr>
      <vt:lpstr>[Customize] 2023 ratings for [campus A]</vt:lpstr>
      <vt:lpstr>[Customize] 2023 ratings for [campus B]</vt:lpstr>
      <vt:lpstr>[Customize] 2023 ratings in context</vt:lpstr>
      <vt:lpstr>TEA’s communications about 2023 ratings include the use of “What If” ratings to communicate growth</vt:lpstr>
      <vt:lpstr>TEA’s communications about 2023 ratings include the use of “What If” ratings to communicate growth</vt:lpstr>
      <vt:lpstr>Thank You</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F Refresh Template  District Presentation to School Board May 2023</dc:title>
  <dc:subject/>
  <dc:creator>Tian, Iris</dc:creator>
  <cp:keywords/>
  <dc:description/>
  <cp:lastModifiedBy>Beck, Katherine</cp:lastModifiedBy>
  <cp:revision>372</cp:revision>
  <dcterms:created xsi:type="dcterms:W3CDTF">2023-05-31T14:33:04Z</dcterms:created>
  <dcterms:modified xsi:type="dcterms:W3CDTF">2023-10-27T20:25:10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98FFA9740F113469B728CFF993204C0</vt:lpwstr>
  </property>
</Properties>
</file>